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0"/>
  </p:notesMasterIdLst>
  <p:handoutMasterIdLst>
    <p:handoutMasterId r:id="rId21"/>
  </p:handoutMasterIdLst>
  <p:sldIdLst>
    <p:sldId id="1063" r:id="rId6"/>
    <p:sldId id="1117" r:id="rId7"/>
    <p:sldId id="2076137442" r:id="rId8"/>
    <p:sldId id="2076137443" r:id="rId9"/>
    <p:sldId id="261" r:id="rId10"/>
    <p:sldId id="1104" r:id="rId11"/>
    <p:sldId id="272" r:id="rId12"/>
    <p:sldId id="2076137449" r:id="rId13"/>
    <p:sldId id="1065" r:id="rId14"/>
    <p:sldId id="2076137435" r:id="rId15"/>
    <p:sldId id="2076137439" r:id="rId16"/>
    <p:sldId id="2076137448" r:id="rId17"/>
    <p:sldId id="256" r:id="rId18"/>
    <p:sldId id="1126" r:id="rId19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F26A4F-CEC4-4681-862C-9D24993E1E53}" v="3" dt="2021-11-01T10:19:14.935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86016" autoAdjust="0"/>
  </p:normalViewPr>
  <p:slideViewPr>
    <p:cSldViewPr showGuides="1">
      <p:cViewPr varScale="1">
        <p:scale>
          <a:sx n="158" d="100"/>
          <a:sy n="158" d="100"/>
        </p:scale>
        <p:origin x="138" y="22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teri Rautaporras" userId="81ae4bc9-51ec-4b09-af2d-f08f9486593f" providerId="ADAL" clId="{B53143DA-4E82-4934-AF6D-B66CEDDD54E8}"/>
    <pc:docChg chg="custSel modSld">
      <pc:chgData name="Petteri Rautaporras" userId="81ae4bc9-51ec-4b09-af2d-f08f9486593f" providerId="ADAL" clId="{B53143DA-4E82-4934-AF6D-B66CEDDD54E8}" dt="2021-08-04T05:39:54.701" v="4" actId="27636"/>
      <pc:docMkLst>
        <pc:docMk/>
      </pc:docMkLst>
      <pc:sldChg chg="modSp mod">
        <pc:chgData name="Petteri Rautaporras" userId="81ae4bc9-51ec-4b09-af2d-f08f9486593f" providerId="ADAL" clId="{B53143DA-4E82-4934-AF6D-B66CEDDD54E8}" dt="2021-08-04T05:39:54.532" v="0" actId="27636"/>
        <pc:sldMkLst>
          <pc:docMk/>
          <pc:sldMk cId="3607371377" sldId="1063"/>
        </pc:sldMkLst>
        <pc:spChg chg="mod">
          <ac:chgData name="Petteri Rautaporras" userId="81ae4bc9-51ec-4b09-af2d-f08f9486593f" providerId="ADAL" clId="{B53143DA-4E82-4934-AF6D-B66CEDDD54E8}" dt="2021-08-04T05:39:54.532" v="0" actId="27636"/>
          <ac:spMkLst>
            <pc:docMk/>
            <pc:sldMk cId="3607371377" sldId="1063"/>
            <ac:spMk id="2" creationId="{50FC3B40-AC30-46E2-BCAD-E388935D70C2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79" v="3" actId="27636"/>
        <pc:sldMkLst>
          <pc:docMk/>
          <pc:sldMk cId="1166976421" sldId="1068"/>
        </pc:sldMkLst>
        <pc:spChg chg="mod">
          <ac:chgData name="Petteri Rautaporras" userId="81ae4bc9-51ec-4b09-af2d-f08f9486593f" providerId="ADAL" clId="{B53143DA-4E82-4934-AF6D-B66CEDDD54E8}" dt="2021-08-04T05:39:54.679" v="3" actId="27636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701" v="4" actId="27636"/>
        <pc:sldMkLst>
          <pc:docMk/>
          <pc:sldMk cId="929075840" sldId="1075"/>
        </pc:sldMkLst>
        <pc:spChg chg="mod">
          <ac:chgData name="Petteri Rautaporras" userId="81ae4bc9-51ec-4b09-af2d-f08f9486593f" providerId="ADAL" clId="{B53143DA-4E82-4934-AF6D-B66CEDDD54E8}" dt="2021-08-04T05:39:54.701" v="4" actId="27636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32" v="1" actId="27636"/>
        <pc:sldMkLst>
          <pc:docMk/>
          <pc:sldMk cId="3588709971" sldId="1118"/>
        </pc:sldMkLst>
        <pc:spChg chg="mod">
          <ac:chgData name="Petteri Rautaporras" userId="81ae4bc9-51ec-4b09-af2d-f08f9486593f" providerId="ADAL" clId="{B53143DA-4E82-4934-AF6D-B66CEDDD54E8}" dt="2021-08-04T05:39:54.632" v="1" actId="27636"/>
          <ac:spMkLst>
            <pc:docMk/>
            <pc:sldMk cId="3588709971" sldId="1118"/>
            <ac:spMk id="10" creationId="{791C78E0-00E0-43A3-BD0C-8AECB56CA32F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47" v="2" actId="27636"/>
        <pc:sldMkLst>
          <pc:docMk/>
          <pc:sldMk cId="2829966302" sldId="2076137438"/>
        </pc:sldMkLst>
        <pc:spChg chg="mod">
          <ac:chgData name="Petteri Rautaporras" userId="81ae4bc9-51ec-4b09-af2d-f08f9486593f" providerId="ADAL" clId="{B53143DA-4E82-4934-AF6D-B66CEDDD54E8}" dt="2021-08-04T05:39:54.647" v="2" actId="27636"/>
          <ac:spMkLst>
            <pc:docMk/>
            <pc:sldMk cId="2829966302" sldId="2076137438"/>
            <ac:spMk id="2" creationId="{00000000-0000-0000-0000-000000000000}"/>
          </ac:spMkLst>
        </pc:spChg>
      </pc:sldChg>
    </pc:docChg>
  </pc:docChgLst>
  <pc:docChgLst>
    <pc:chgData name="Rautaporras Petteri" userId="81ae4bc9-51ec-4b09-af2d-f08f9486593f" providerId="ADAL" clId="{B2F26A4F-CEC4-4681-862C-9D24993E1E53}"/>
    <pc:docChg chg="undo custSel addSld delSld modSld">
      <pc:chgData name="Rautaporras Petteri" userId="81ae4bc9-51ec-4b09-af2d-f08f9486593f" providerId="ADAL" clId="{B2F26A4F-CEC4-4681-862C-9D24993E1E53}" dt="2021-11-03T11:03:47.806" v="1951" actId="20577"/>
      <pc:docMkLst>
        <pc:docMk/>
      </pc:docMkLst>
      <pc:sldChg chg="add">
        <pc:chgData name="Rautaporras Petteri" userId="81ae4bc9-51ec-4b09-af2d-f08f9486593f" providerId="ADAL" clId="{B2F26A4F-CEC4-4681-862C-9D24993E1E53}" dt="2021-11-01T10:44:27.985" v="160"/>
        <pc:sldMkLst>
          <pc:docMk/>
          <pc:sldMk cId="3881790117" sldId="256"/>
        </pc:sldMkLst>
      </pc:sldChg>
      <pc:sldChg chg="del">
        <pc:chgData name="Rautaporras Petteri" userId="81ae4bc9-51ec-4b09-af2d-f08f9486593f" providerId="ADAL" clId="{B2F26A4F-CEC4-4681-862C-9D24993E1E53}" dt="2021-11-01T10:19:01.160" v="6" actId="47"/>
        <pc:sldMkLst>
          <pc:docMk/>
          <pc:sldMk cId="3984870155" sldId="256"/>
        </pc:sldMkLst>
      </pc:sldChg>
      <pc:sldChg chg="modSp add mod">
        <pc:chgData name="Rautaporras Petteri" userId="81ae4bc9-51ec-4b09-af2d-f08f9486593f" providerId="ADAL" clId="{B2F26A4F-CEC4-4681-862C-9D24993E1E53}" dt="2021-11-02T09:36:41.508" v="1756"/>
        <pc:sldMkLst>
          <pc:docMk/>
          <pc:sldMk cId="912479398" sldId="261"/>
        </pc:sldMkLst>
        <pc:spChg chg="mod">
          <ac:chgData name="Rautaporras Petteri" userId="81ae4bc9-51ec-4b09-af2d-f08f9486593f" providerId="ADAL" clId="{B2F26A4F-CEC4-4681-862C-9D24993E1E53}" dt="2021-11-01T19:00:24.751" v="1702"/>
          <ac:spMkLst>
            <pc:docMk/>
            <pc:sldMk cId="912479398" sldId="261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2T09:36:41.508" v="1756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">
        <pc:chgData name="Rautaporras Petteri" userId="81ae4bc9-51ec-4b09-af2d-f08f9486593f" providerId="ADAL" clId="{B2F26A4F-CEC4-4681-862C-9D24993E1E53}" dt="2021-11-02T09:36:47.222" v="175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B2F26A4F-CEC4-4681-862C-9D24993E1E53}" dt="2021-11-02T09:36:47.222" v="175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 del">
        <pc:chgData name="Rautaporras Petteri" userId="81ae4bc9-51ec-4b09-af2d-f08f9486593f" providerId="ADAL" clId="{B2F26A4F-CEC4-4681-862C-9D24993E1E53}" dt="2021-11-01T18:27:56.254" v="1692" actId="47"/>
        <pc:sldMkLst>
          <pc:docMk/>
          <pc:sldMk cId="1883353922" sldId="1049"/>
        </pc:sldMkLst>
      </pc:sldChg>
      <pc:sldChg chg="del">
        <pc:chgData name="Rautaporras Petteri" userId="81ae4bc9-51ec-4b09-af2d-f08f9486593f" providerId="ADAL" clId="{B2F26A4F-CEC4-4681-862C-9D24993E1E53}" dt="2021-11-01T18:28:02.601" v="1694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B2F26A4F-CEC4-4681-862C-9D24993E1E53}" dt="2021-11-03T11:03:47.806" v="1951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B2F26A4F-CEC4-4681-862C-9D24993E1E53}" dt="2021-11-03T11:03:47.806" v="1951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81ae4bc9-51ec-4b09-af2d-f08f9486593f" providerId="ADAL" clId="{B2F26A4F-CEC4-4681-862C-9D24993E1E53}" dt="2021-11-01T18:28:10.790" v="1695"/>
        <pc:sldMkLst>
          <pc:docMk/>
          <pc:sldMk cId="3461487886" sldId="1065"/>
        </pc:sldMkLst>
      </pc:sldChg>
      <pc:sldChg chg="del">
        <pc:chgData name="Rautaporras Petteri" userId="81ae4bc9-51ec-4b09-af2d-f08f9486593f" providerId="ADAL" clId="{B2F26A4F-CEC4-4681-862C-9D24993E1E53}" dt="2021-11-01T10:34:21.952" v="111" actId="47"/>
        <pc:sldMkLst>
          <pc:docMk/>
          <pc:sldMk cId="1166976421" sldId="1068"/>
        </pc:sldMkLst>
      </pc:sldChg>
      <pc:sldChg chg="modSp mod">
        <pc:chgData name="Rautaporras Petteri" userId="81ae4bc9-51ec-4b09-af2d-f08f9486593f" providerId="ADAL" clId="{B2F26A4F-CEC4-4681-862C-9D24993E1E53}" dt="2021-11-03T06:55:08.164" v="1778" actId="14100"/>
        <pc:sldMkLst>
          <pc:docMk/>
          <pc:sldMk cId="929075840" sldId="1075"/>
        </pc:sldMkLst>
        <pc:spChg chg="mod">
          <ac:chgData name="Rautaporras Petteri" userId="81ae4bc9-51ec-4b09-af2d-f08f9486593f" providerId="ADAL" clId="{B2F26A4F-CEC4-4681-862C-9D24993E1E53}" dt="2021-11-03T06:55:08.164" v="1778" actId="14100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81ae4bc9-51ec-4b09-af2d-f08f9486593f" providerId="ADAL" clId="{B2F26A4F-CEC4-4681-862C-9D24993E1E53}" dt="2021-11-03T06:23:30.839" v="177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B2F26A4F-CEC4-4681-862C-9D24993E1E53}" dt="2021-11-03T06:23:30.839" v="177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B2F26A4F-CEC4-4681-862C-9D24993E1E53}" dt="2021-11-02T08:13:19.218" v="1712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B2F26A4F-CEC4-4681-862C-9D24993E1E53}" dt="2021-11-02T08:13:19.218" v="171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del">
        <pc:chgData name="Rautaporras Petteri" userId="81ae4bc9-51ec-4b09-af2d-f08f9486593f" providerId="ADAL" clId="{B2F26A4F-CEC4-4681-862C-9D24993E1E53}" dt="2021-11-01T10:19:07.736" v="8" actId="47"/>
        <pc:sldMkLst>
          <pc:docMk/>
          <pc:sldMk cId="3588709971" sldId="1118"/>
        </pc:sldMkLst>
      </pc:sldChg>
      <pc:sldChg chg="modSp mod">
        <pc:chgData name="Rautaporras Petteri" userId="81ae4bc9-51ec-4b09-af2d-f08f9486593f" providerId="ADAL" clId="{B2F26A4F-CEC4-4681-862C-9D24993E1E53}" dt="2021-11-03T07:21:07.521" v="1950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B2F26A4F-CEC4-4681-862C-9D24993E1E53}" dt="2021-11-03T07:21:07.521" v="195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">
        <pc:chgData name="Rautaporras Petteri" userId="81ae4bc9-51ec-4b09-af2d-f08f9486593f" providerId="ADAL" clId="{B2F26A4F-CEC4-4681-862C-9D24993E1E53}" dt="2021-11-01T18:28:24.696" v="169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B2F26A4F-CEC4-4681-862C-9D24993E1E53}" dt="2021-11-01T18:28:14.956" v="1696" actId="47"/>
        <pc:sldMkLst>
          <pc:docMk/>
          <pc:sldMk cId="3164595974" sldId="2076137437"/>
        </pc:sldMkLst>
      </pc:sldChg>
      <pc:sldChg chg="del">
        <pc:chgData name="Rautaporras Petteri" userId="81ae4bc9-51ec-4b09-af2d-f08f9486593f" providerId="ADAL" clId="{B2F26A4F-CEC4-4681-862C-9D24993E1E53}" dt="2021-11-01T18:28:27.146" v="1698" actId="47"/>
        <pc:sldMkLst>
          <pc:docMk/>
          <pc:sldMk cId="2829966302" sldId="2076137438"/>
        </pc:sldMkLst>
      </pc:sldChg>
      <pc:sldChg chg="add">
        <pc:chgData name="Rautaporras Petteri" userId="81ae4bc9-51ec-4b09-af2d-f08f9486593f" providerId="ADAL" clId="{B2F26A4F-CEC4-4681-862C-9D24993E1E53}" dt="2021-11-01T10:18:59.939" v="5"/>
        <pc:sldMkLst>
          <pc:docMk/>
          <pc:sldMk cId="2670507341" sldId="2076137442"/>
        </pc:sldMkLst>
      </pc:sldChg>
      <pc:sldChg chg="modSp add mod">
        <pc:chgData name="Rautaporras Petteri" userId="81ae4bc9-51ec-4b09-af2d-f08f9486593f" providerId="ADAL" clId="{B2F26A4F-CEC4-4681-862C-9D24993E1E53}" dt="2021-11-02T09:36:40.318" v="1755"/>
        <pc:sldMkLst>
          <pc:docMk/>
          <pc:sldMk cId="3383361648" sldId="2076137443"/>
        </pc:sldMkLst>
        <pc:spChg chg="mod">
          <ac:chgData name="Rautaporras Petteri" userId="81ae4bc9-51ec-4b09-af2d-f08f9486593f" providerId="ADAL" clId="{B2F26A4F-CEC4-4681-862C-9D24993E1E53}" dt="2021-11-01T13:21:51.136" v="1680" actId="20577"/>
          <ac:spMkLst>
            <pc:docMk/>
            <pc:sldMk cId="3383361648" sldId="2076137443"/>
            <ac:spMk id="7" creationId="{3733E520-6A08-4E9C-973B-B665E50E1854}"/>
          </ac:spMkLst>
        </pc:spChg>
        <pc:spChg chg="mod">
          <ac:chgData name="Rautaporras Petteri" userId="81ae4bc9-51ec-4b09-af2d-f08f9486593f" providerId="ADAL" clId="{B2F26A4F-CEC4-4681-862C-9D24993E1E53}" dt="2021-11-01T18:59:32.791" v="1701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B2F26A4F-CEC4-4681-862C-9D24993E1E53}" dt="2021-11-02T09:36:40.318" v="1755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modSp new mod">
        <pc:chgData name="Rautaporras Petteri" userId="81ae4bc9-51ec-4b09-af2d-f08f9486593f" providerId="ADAL" clId="{B2F26A4F-CEC4-4681-862C-9D24993E1E53}" dt="2021-11-01T10:33:25.507" v="89" actId="20577"/>
        <pc:sldMkLst>
          <pc:docMk/>
          <pc:sldMk cId="3943818055" sldId="2076137444"/>
        </pc:sldMkLst>
        <pc:spChg chg="mod">
          <ac:chgData name="Rautaporras Petteri" userId="81ae4bc9-51ec-4b09-af2d-f08f9486593f" providerId="ADAL" clId="{B2F26A4F-CEC4-4681-862C-9D24993E1E53}" dt="2021-11-01T10:33:25.507" v="89" actId="20577"/>
          <ac:spMkLst>
            <pc:docMk/>
            <pc:sldMk cId="3943818055" sldId="2076137444"/>
            <ac:spMk id="2" creationId="{42D6FED0-1307-4154-B8F9-C0A6B1C735DD}"/>
          </ac:spMkLst>
        </pc:spChg>
      </pc:sldChg>
      <pc:sldChg chg="add">
        <pc:chgData name="Rautaporras Petteri" userId="81ae4bc9-51ec-4b09-af2d-f08f9486593f" providerId="ADAL" clId="{B2F26A4F-CEC4-4681-862C-9D24993E1E53}" dt="2021-11-01T10:44:52.915" v="164"/>
        <pc:sldMkLst>
          <pc:docMk/>
          <pc:sldMk cId="736890801" sldId="2076137446"/>
        </pc:sldMkLst>
      </pc:sldChg>
      <pc:sldChg chg="modSp add mod">
        <pc:chgData name="Rautaporras Petteri" userId="81ae4bc9-51ec-4b09-af2d-f08f9486593f" providerId="ADAL" clId="{B2F26A4F-CEC4-4681-862C-9D24993E1E53}" dt="2021-11-01T10:34:48.885" v="159" actId="20577"/>
        <pc:sldMkLst>
          <pc:docMk/>
          <pc:sldMk cId="1164271516" sldId="2076137448"/>
        </pc:sldMkLst>
        <pc:spChg chg="mod">
          <ac:chgData name="Rautaporras Petteri" userId="81ae4bc9-51ec-4b09-af2d-f08f9486593f" providerId="ADAL" clId="{B2F26A4F-CEC4-4681-862C-9D24993E1E53}" dt="2021-11-01T10:34:48.885" v="159" actId="20577"/>
          <ac:spMkLst>
            <pc:docMk/>
            <pc:sldMk cId="1164271516" sldId="2076137448"/>
            <ac:spMk id="2" creationId="{00000000-0000-0000-0000-000000000000}"/>
          </ac:spMkLst>
        </pc:spChg>
      </pc:sldChg>
      <pc:sldChg chg="add">
        <pc:chgData name="Rautaporras Petteri" userId="81ae4bc9-51ec-4b09-af2d-f08f9486593f" providerId="ADAL" clId="{B2F26A4F-CEC4-4681-862C-9D24993E1E53}" dt="2021-11-01T18:28:00.745" v="1693"/>
        <pc:sldMkLst>
          <pc:docMk/>
          <pc:sldMk cId="1196926229" sldId="2076137449"/>
        </pc:sldMkLst>
      </pc:sldChg>
    </pc:docChg>
  </pc:docChgLst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d9004aa4-7491-43fa-b04f-4f6e300df2fa" providerId="ADAL" clId="{7C9586CA-564D-4A87-8543-C3A70CFC5EEF}"/>
    <pc:docChg chg="undo custSel addSld delSld modSld">
      <pc:chgData name="Rautaporras Petteri" userId="d9004aa4-7491-43fa-b04f-4f6e300df2fa" providerId="ADAL" clId="{7C9586CA-564D-4A87-8543-C3A70CFC5EEF}" dt="2021-08-09T05:20:14.111" v="3364" actId="20577"/>
      <pc:docMkLst>
        <pc:docMk/>
      </pc:docMkLst>
      <pc:sldChg chg="add">
        <pc:chgData name="Rautaporras Petteri" userId="d9004aa4-7491-43fa-b04f-4f6e300df2fa" providerId="ADAL" clId="{7C9586CA-564D-4A87-8543-C3A70CFC5EEF}" dt="2021-08-02T07:52:46.127" v="740"/>
        <pc:sldMkLst>
          <pc:docMk/>
          <pc:sldMk cId="3984870155" sldId="256"/>
        </pc:sldMkLst>
      </pc:sldChg>
      <pc:sldChg chg="del">
        <pc:chgData name="Rautaporras Petteri" userId="d9004aa4-7491-43fa-b04f-4f6e300df2fa" providerId="ADAL" clId="{7C9586CA-564D-4A87-8543-C3A70CFC5EEF}" dt="2021-08-02T10:33:04.721" v="1263" actId="47"/>
        <pc:sldMkLst>
          <pc:docMk/>
          <pc:sldMk cId="347492013" sldId="258"/>
        </pc:sldMkLst>
      </pc:sldChg>
      <pc:sldChg chg="modSp del">
        <pc:chgData name="Rautaporras Petteri" userId="d9004aa4-7491-43fa-b04f-4f6e300df2fa" providerId="ADAL" clId="{7C9586CA-564D-4A87-8543-C3A70CFC5EEF}" dt="2021-08-02T09:46:03.697" v="1168" actId="47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7C9586CA-564D-4A87-8543-C3A70CFC5EEF}" dt="2021-08-02T09:46:03.672" v="1167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add">
        <pc:chgData name="Rautaporras Petteri" userId="d9004aa4-7491-43fa-b04f-4f6e300df2fa" providerId="ADAL" clId="{7C9586CA-564D-4A87-8543-C3A70CFC5EEF}" dt="2021-08-03T11:48:55.392" v="2538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7C9586CA-564D-4A87-8543-C3A70CFC5EEF}" dt="2021-08-03T11:48:55.392" v="2538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2T09:46:32.810" v="1174" actId="47"/>
        <pc:sldMkLst>
          <pc:docMk/>
          <pc:sldMk cId="2833165680" sldId="356"/>
        </pc:sldMkLst>
      </pc:sldChg>
      <pc:sldChg chg="del">
        <pc:chgData name="Rautaporras Petteri" userId="d9004aa4-7491-43fa-b04f-4f6e300df2fa" providerId="ADAL" clId="{7C9586CA-564D-4A87-8543-C3A70CFC5EEF}" dt="2021-08-02T09:46:27.095" v="1172" actId="47"/>
        <pc:sldMkLst>
          <pc:docMk/>
          <pc:sldMk cId="698580732" sldId="363"/>
        </pc:sldMkLst>
      </pc:sldChg>
      <pc:sldChg chg="del">
        <pc:chgData name="Rautaporras Petteri" userId="d9004aa4-7491-43fa-b04f-4f6e300df2fa" providerId="ADAL" clId="{7C9586CA-564D-4A87-8543-C3A70CFC5EEF}" dt="2021-08-02T08:24:51.941" v="742" actId="47"/>
        <pc:sldMkLst>
          <pc:docMk/>
          <pc:sldMk cId="3098896778" sldId="1046"/>
        </pc:sldMkLst>
      </pc:sldChg>
      <pc:sldChg chg="modSp add mod">
        <pc:chgData name="Rautaporras Petteri" userId="d9004aa4-7491-43fa-b04f-4f6e300df2fa" providerId="ADAL" clId="{7C9586CA-564D-4A87-8543-C3A70CFC5EEF}" dt="2021-08-03T11:39:56.481" v="2032" actId="20577"/>
        <pc:sldMkLst>
          <pc:docMk/>
          <pc:sldMk cId="1255078131" sldId="1051"/>
        </pc:sldMkLst>
        <pc:spChg chg="mod">
          <ac:chgData name="Rautaporras Petteri" userId="d9004aa4-7491-43fa-b04f-4f6e300df2fa" providerId="ADAL" clId="{7C9586CA-564D-4A87-8543-C3A70CFC5EEF}" dt="2021-08-03T11:39:56.481" v="2032" actId="20577"/>
          <ac:spMkLst>
            <pc:docMk/>
            <pc:sldMk cId="1255078131" sldId="1051"/>
            <ac:spMk id="6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9T05:20:14.111" v="336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7C9586CA-564D-4A87-8543-C3A70CFC5EEF}" dt="2021-08-09T05:20:14.111" v="336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d9004aa4-7491-43fa-b04f-4f6e300df2fa" providerId="ADAL" clId="{7C9586CA-564D-4A87-8543-C3A70CFC5EEF}" dt="2021-08-03T11:38:30.986" v="1998" actId="47"/>
        <pc:sldMkLst>
          <pc:docMk/>
          <pc:sldMk cId="3461487886" sldId="1065"/>
        </pc:sldMkLst>
      </pc:sldChg>
      <pc:sldChg chg="del">
        <pc:chgData name="Rautaporras Petteri" userId="d9004aa4-7491-43fa-b04f-4f6e300df2fa" providerId="ADAL" clId="{7C9586CA-564D-4A87-8543-C3A70CFC5EEF}" dt="2021-08-02T09:46:29.615" v="1173" actId="47"/>
        <pc:sldMkLst>
          <pc:docMk/>
          <pc:sldMk cId="3421334924" sldId="1067"/>
        </pc:sldMkLst>
      </pc:sldChg>
      <pc:sldChg chg="modSp add mod">
        <pc:chgData name="Rautaporras Petteri" userId="d9004aa4-7491-43fa-b04f-4f6e300df2fa" providerId="ADAL" clId="{7C9586CA-564D-4A87-8543-C3A70CFC5EEF}" dt="2021-08-04T06:48:09.789" v="3361" actId="255"/>
        <pc:sldMkLst>
          <pc:docMk/>
          <pc:sldMk cId="1166976421" sldId="1068"/>
        </pc:sldMkLst>
        <pc:spChg chg="mod">
          <ac:chgData name="Rautaporras Petteri" userId="d9004aa4-7491-43fa-b04f-4f6e300df2fa" providerId="ADAL" clId="{7C9586CA-564D-4A87-8543-C3A70CFC5EEF}" dt="2021-08-04T06:48:09.789" v="3361" actId="255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8:34.139" v="3362" actId="255"/>
        <pc:sldMkLst>
          <pc:docMk/>
          <pc:sldMk cId="929075840" sldId="1075"/>
        </pc:sldMkLst>
        <pc:spChg chg="mod">
          <ac:chgData name="Rautaporras Petteri" userId="d9004aa4-7491-43fa-b04f-4f6e300df2fa" providerId="ADAL" clId="{7C9586CA-564D-4A87-8543-C3A70CFC5EEF}" dt="2021-08-04T06:48:34.139" v="3362" actId="255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7C9586CA-564D-4A87-8543-C3A70CFC5EEF}" dt="2021-08-04T05:17:23.042" v="3262" actId="1076"/>
        <pc:sldMkLst>
          <pc:docMk/>
          <pc:sldMk cId="2573167509" sldId="1104"/>
        </pc:sldMkLst>
        <pc:spChg chg="mod">
          <ac:chgData name="Rautaporras Petteri" userId="d9004aa4-7491-43fa-b04f-4f6e300df2fa" providerId="ADAL" clId="{7C9586CA-564D-4A87-8543-C3A70CFC5EEF}" dt="2021-08-04T05:17:23.042" v="3262" actId="1076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7C9586CA-564D-4A87-8543-C3A70CFC5EEF}" dt="2021-08-02T07:52:02.012" v="739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7C9586CA-564D-4A87-8543-C3A70CFC5EEF}" dt="2021-08-02T07:52:02.012" v="739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48.582" v="3359" actId="255"/>
        <pc:sldMkLst>
          <pc:docMk/>
          <pc:sldMk cId="3588709971" sldId="1118"/>
        </pc:sldMkLst>
        <pc:spChg chg="mod">
          <ac:chgData name="Rautaporras Petteri" userId="d9004aa4-7491-43fa-b04f-4f6e300df2fa" providerId="ADAL" clId="{7C9586CA-564D-4A87-8543-C3A70CFC5EEF}" dt="2021-08-04T06:47:48.582" v="3359" actId="255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7C9586CA-564D-4A87-8543-C3A70CFC5EEF}" dt="2021-08-03T11:43:25.803" v="2181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7C9586CA-564D-4A87-8543-C3A70CFC5EEF}" dt="2021-08-04T05:22:57.362" v="3344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7C9586CA-564D-4A87-8543-C3A70CFC5EEF}" dt="2021-08-04T05:22:57.362" v="334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7C9586CA-564D-4A87-8543-C3A70CFC5EEF}" dt="2021-08-02T08:20:59.745" v="741" actId="47"/>
        <pc:sldMkLst>
          <pc:docMk/>
          <pc:sldMk cId="1005875025" sldId="2076137431"/>
        </pc:sldMkLst>
      </pc:sldChg>
      <pc:sldChg chg="modSp del">
        <pc:chgData name="Rautaporras Petteri" userId="d9004aa4-7491-43fa-b04f-4f6e300df2fa" providerId="ADAL" clId="{7C9586CA-564D-4A87-8543-C3A70CFC5EEF}" dt="2021-08-02T09:46:24.141" v="1171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7C9586CA-564D-4A87-8543-C3A70CFC5EEF}" dt="2021-08-02T09:46:24.114" v="1170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3T11:37:54.646" v="1993" actId="47"/>
        <pc:sldMkLst>
          <pc:docMk/>
          <pc:sldMk cId="743890610" sldId="2076137433"/>
        </pc:sldMkLst>
      </pc:sldChg>
      <pc:sldChg chg="del">
        <pc:chgData name="Rautaporras Petteri" userId="d9004aa4-7491-43fa-b04f-4f6e300df2fa" providerId="ADAL" clId="{7C9586CA-564D-4A87-8543-C3A70CFC5EEF}" dt="2021-08-03T11:38:38.473" v="2000" actId="47"/>
        <pc:sldMkLst>
          <pc:docMk/>
          <pc:sldMk cId="3005809879" sldId="2076137435"/>
        </pc:sldMkLst>
      </pc:sldChg>
      <pc:sldChg chg="del">
        <pc:chgData name="Rautaporras Petteri" userId="d9004aa4-7491-43fa-b04f-4f6e300df2fa" providerId="ADAL" clId="{7C9586CA-564D-4A87-8543-C3A70CFC5EEF}" dt="2021-08-03T11:39:12.307" v="2002" actId="47"/>
        <pc:sldMkLst>
          <pc:docMk/>
          <pc:sldMk cId="800762062" sldId="2076137436"/>
        </pc:sldMkLst>
      </pc:sldChg>
      <pc:sldChg chg="modSp del mod">
        <pc:chgData name="Rautaporras Petteri" userId="d9004aa4-7491-43fa-b04f-4f6e300df2fa" providerId="ADAL" clId="{7C9586CA-564D-4A87-8543-C3A70CFC5EEF}" dt="2021-08-02T09:54:26.592" v="1262" actId="47"/>
        <pc:sldMkLst>
          <pc:docMk/>
          <pc:sldMk cId="858822830" sldId="2076137437"/>
        </pc:sldMkLst>
        <pc:spChg chg="mod">
          <ac:chgData name="Rautaporras Petteri" userId="d9004aa4-7491-43fa-b04f-4f6e300df2fa" providerId="ADAL" clId="{7C9586CA-564D-4A87-8543-C3A70CFC5EEF}" dt="2021-08-02T09:47:27.707" v="1258" actId="20577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7C9586CA-564D-4A87-8543-C3A70CFC5EEF}" dt="2021-08-02T09:54:20.374" v="1261" actId="20577"/>
          <ac:spMkLst>
            <pc:docMk/>
            <pc:sldMk cId="858822830" sldId="2076137437"/>
            <ac:spMk id="6" creationId="{26680B02-E3ED-48E7-BF93-F964DC93B53B}"/>
          </ac:spMkLst>
        </pc:spChg>
      </pc:sldChg>
      <pc:sldChg chg="add">
        <pc:chgData name="Rautaporras Petteri" userId="d9004aa4-7491-43fa-b04f-4f6e300df2fa" providerId="ADAL" clId="{7C9586CA-564D-4A87-8543-C3A70CFC5EEF}" dt="2021-08-03T11:38:28.334" v="1997"/>
        <pc:sldMkLst>
          <pc:docMk/>
          <pc:sldMk cId="3164595974" sldId="2076137437"/>
        </pc:sldMkLst>
      </pc:sldChg>
      <pc:sldChg chg="modSp add mod">
        <pc:chgData name="Rautaporras Petteri" userId="d9004aa4-7491-43fa-b04f-4f6e300df2fa" providerId="ADAL" clId="{7C9586CA-564D-4A87-8543-C3A70CFC5EEF}" dt="2021-08-04T06:48:03.207" v="3360" actId="255"/>
        <pc:sldMkLst>
          <pc:docMk/>
          <pc:sldMk cId="2829966302" sldId="2076137438"/>
        </pc:sldMkLst>
        <pc:spChg chg="mod">
          <ac:chgData name="Rautaporras Petteri" userId="d9004aa4-7491-43fa-b04f-4f6e300df2fa" providerId="ADAL" clId="{7C9586CA-564D-4A87-8543-C3A70CFC5EEF}" dt="2021-08-04T06:48:03.207" v="3360" actId="255"/>
          <ac:spMkLst>
            <pc:docMk/>
            <pc:sldMk cId="2829966302" sldId="2076137438"/>
            <ac:spMk id="2" creationId="{00000000-0000-0000-0000-000000000000}"/>
          </ac:spMkLst>
        </pc:spChg>
        <pc:graphicFrameChg chg="modGraphic">
          <ac:chgData name="Rautaporras Petteri" userId="d9004aa4-7491-43fa-b04f-4f6e300df2fa" providerId="ADAL" clId="{7C9586CA-564D-4A87-8543-C3A70CFC5EEF}" dt="2021-08-03T18:16:09.840" v="3035" actId="14734"/>
          <ac:graphicFrameMkLst>
            <pc:docMk/>
            <pc:sldMk cId="2829966302" sldId="2076137438"/>
            <ac:graphicFrameMk id="14" creationId="{8AD21D0F-9B6A-4E23-A81A-E23C9B1E89C1}"/>
          </ac:graphicFrameMkLst>
        </pc:graphicFrameChg>
        <pc:graphicFrameChg chg="mod">
          <ac:chgData name="Rautaporras Petteri" userId="d9004aa4-7491-43fa-b04f-4f6e300df2fa" providerId="ADAL" clId="{7C9586CA-564D-4A87-8543-C3A70CFC5EEF}" dt="2021-08-03T18:16:12.398" v="3036"/>
          <ac:graphicFrameMkLst>
            <pc:docMk/>
            <pc:sldMk cId="2829966302" sldId="2076137438"/>
            <ac:graphicFrameMk id="25" creationId="{00000000-0000-0000-0000-000000000000}"/>
          </ac:graphicFrameMkLst>
        </pc:graphicFrameChg>
      </pc:sldChg>
      <pc:sldChg chg="modSp new del mod">
        <pc:chgData name="Rautaporras Petteri" userId="d9004aa4-7491-43fa-b04f-4f6e300df2fa" providerId="ADAL" clId="{7C9586CA-564D-4A87-8543-C3A70CFC5EEF}" dt="2021-08-04T05:28:14.019" v="3345" actId="47"/>
        <pc:sldMkLst>
          <pc:docMk/>
          <pc:sldMk cId="720751863" sldId="2076137439"/>
        </pc:sldMkLst>
        <pc:spChg chg="mod">
          <ac:chgData name="Rautaporras Petteri" userId="d9004aa4-7491-43fa-b04f-4f6e300df2fa" providerId="ADAL" clId="{7C9586CA-564D-4A87-8543-C3A70CFC5EEF}" dt="2021-08-03T17:47:41.370" v="3033" actId="20577"/>
          <ac:spMkLst>
            <pc:docMk/>
            <pc:sldMk cId="720751863" sldId="2076137439"/>
            <ac:spMk id="6" creationId="{3C97234C-11BA-419C-AC2A-79CCD2AA14B0}"/>
          </ac:spMkLst>
        </pc:spChg>
      </pc:sldChg>
    </pc:docChg>
  </pc:docChgLst>
  <pc:docChgLst>
    <pc:chgData name="Rautaporras Petteri" userId="81ae4bc9-51ec-4b09-af2d-f08f9486593f" providerId="ADAL" clId="{7C9586CA-564D-4A87-8543-C3A70CFC5EEF}"/>
    <pc:docChg chg="delSld">
      <pc:chgData name="Rautaporras Petteri" userId="81ae4bc9-51ec-4b09-af2d-f08f9486593f" providerId="ADAL" clId="{7C9586CA-564D-4A87-8543-C3A70CFC5EEF}" dt="2021-08-13T06:21:07.762" v="0" actId="47"/>
      <pc:docMkLst>
        <pc:docMk/>
      </pc:docMkLst>
      <pc:sldChg chg="del">
        <pc:chgData name="Rautaporras Petteri" userId="81ae4bc9-51ec-4b09-af2d-f08f9486593f" providerId="ADAL" clId="{7C9586CA-564D-4A87-8543-C3A70CFC5EEF}" dt="2021-08-13T06:21:07.762" v="0" actId="47"/>
        <pc:sldMkLst>
          <pc:docMk/>
          <pc:sldMk cId="929075840" sldId="1075"/>
        </pc:sldMkLst>
      </pc:sld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84301744915256771"/>
          <c:y val="0.1262753226318895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2:$A$59</c:f>
              <c:strCache>
                <c:ptCount val="57"/>
                <c:pt idx="1">
                  <c:v>08(1)</c:v>
                </c:pt>
                <c:pt idx="2">
                  <c:v>08(4)</c:v>
                </c:pt>
                <c:pt idx="3">
                  <c:v>08(7)</c:v>
                </c:pt>
                <c:pt idx="4">
                  <c:v>08(10)</c:v>
                </c:pt>
                <c:pt idx="5">
                  <c:v>09(1)</c:v>
                </c:pt>
                <c:pt idx="6">
                  <c:v>09(4)</c:v>
                </c:pt>
                <c:pt idx="7">
                  <c:v>09(7)</c:v>
                </c:pt>
                <c:pt idx="8">
                  <c:v>09(10)</c:v>
                </c:pt>
                <c:pt idx="9">
                  <c:v>10(1)</c:v>
                </c:pt>
                <c:pt idx="10">
                  <c:v>10(4)</c:v>
                </c:pt>
                <c:pt idx="11">
                  <c:v>10(7)</c:v>
                </c:pt>
                <c:pt idx="12">
                  <c:v>10(10)</c:v>
                </c:pt>
                <c:pt idx="13">
                  <c:v>11(1)</c:v>
                </c:pt>
                <c:pt idx="14">
                  <c:v>11(4)</c:v>
                </c:pt>
                <c:pt idx="15">
                  <c:v>11(7)</c:v>
                </c:pt>
                <c:pt idx="16">
                  <c:v>11(10)</c:v>
                </c:pt>
                <c:pt idx="17">
                  <c:v>12(1)</c:v>
                </c:pt>
                <c:pt idx="18">
                  <c:v>12(4)</c:v>
                </c:pt>
                <c:pt idx="19">
                  <c:v>12(7)</c:v>
                </c:pt>
                <c:pt idx="20">
                  <c:v>12(10)</c:v>
                </c:pt>
                <c:pt idx="21">
                  <c:v>13(1)</c:v>
                </c:pt>
                <c:pt idx="22">
                  <c:v>13(4)</c:v>
                </c:pt>
                <c:pt idx="23">
                  <c:v>13(7)</c:v>
                </c:pt>
                <c:pt idx="24">
                  <c:v>13(10)</c:v>
                </c:pt>
                <c:pt idx="25">
                  <c:v>14(1)</c:v>
                </c:pt>
                <c:pt idx="26">
                  <c:v>14(4)</c:v>
                </c:pt>
                <c:pt idx="27">
                  <c:v>14(7)</c:v>
                </c:pt>
                <c:pt idx="28">
                  <c:v>14(10)</c:v>
                </c:pt>
                <c:pt idx="29">
                  <c:v>15(1)</c:v>
                </c:pt>
                <c:pt idx="30">
                  <c:v>15(4)</c:v>
                </c:pt>
                <c:pt idx="31">
                  <c:v>15(7)</c:v>
                </c:pt>
                <c:pt idx="32">
                  <c:v>15(10)</c:v>
                </c:pt>
                <c:pt idx="33">
                  <c:v>16(1)</c:v>
                </c:pt>
                <c:pt idx="34">
                  <c:v>16(4)</c:v>
                </c:pt>
                <c:pt idx="35">
                  <c:v>16(7)</c:v>
                </c:pt>
                <c:pt idx="36">
                  <c:v>16(10)</c:v>
                </c:pt>
                <c:pt idx="37">
                  <c:v>17(1)</c:v>
                </c:pt>
                <c:pt idx="38">
                  <c:v>17(4)</c:v>
                </c:pt>
                <c:pt idx="39">
                  <c:v>17(7)</c:v>
                </c:pt>
                <c:pt idx="40">
                  <c:v>17(10)</c:v>
                </c:pt>
                <c:pt idx="41">
                  <c:v>18(1)</c:v>
                </c:pt>
                <c:pt idx="42">
                  <c:v>18(4)</c:v>
                </c:pt>
                <c:pt idx="43">
                  <c:v>18(7)</c:v>
                </c:pt>
                <c:pt idx="44">
                  <c:v>18(10)</c:v>
                </c:pt>
                <c:pt idx="45">
                  <c:v>19(1)</c:v>
                </c:pt>
                <c:pt idx="46">
                  <c:v>19(4)</c:v>
                </c:pt>
                <c:pt idx="47">
                  <c:v>19(7)</c:v>
                </c:pt>
                <c:pt idx="48">
                  <c:v>19(10)</c:v>
                </c:pt>
                <c:pt idx="49">
                  <c:v>20(1)</c:v>
                </c:pt>
                <c:pt idx="50">
                  <c:v>20(4)</c:v>
                </c:pt>
                <c:pt idx="51">
                  <c:v>20(07)</c:v>
                </c:pt>
                <c:pt idx="52">
                  <c:v>20(10)</c:v>
                </c:pt>
                <c:pt idx="53">
                  <c:v>21(1)</c:v>
                </c:pt>
                <c:pt idx="54">
                  <c:v>21(4)</c:v>
                </c:pt>
                <c:pt idx="55">
                  <c:v>21(7)</c:v>
                </c:pt>
                <c:pt idx="56">
                  <c:v>21(10)</c:v>
                </c:pt>
              </c:strCache>
            </c:strRef>
          </c:cat>
          <c:val>
            <c:numRef>
              <c:f>Taul1!$B$2:$B$59</c:f>
              <c:numCache>
                <c:formatCode>General</c:formatCode>
                <c:ptCount val="58"/>
                <c:pt idx="1">
                  <c:v>-2</c:v>
                </c:pt>
                <c:pt idx="2">
                  <c:v>1</c:v>
                </c:pt>
                <c:pt idx="3">
                  <c:v>-14</c:v>
                </c:pt>
                <c:pt idx="4">
                  <c:v>-28</c:v>
                </c:pt>
                <c:pt idx="5">
                  <c:v>-56</c:v>
                </c:pt>
                <c:pt idx="6">
                  <c:v>-36</c:v>
                </c:pt>
                <c:pt idx="7">
                  <c:v>-21</c:v>
                </c:pt>
                <c:pt idx="8">
                  <c:v>2</c:v>
                </c:pt>
                <c:pt idx="9">
                  <c:v>10</c:v>
                </c:pt>
                <c:pt idx="10">
                  <c:v>33</c:v>
                </c:pt>
                <c:pt idx="11">
                  <c:v>27</c:v>
                </c:pt>
                <c:pt idx="12">
                  <c:v>19</c:v>
                </c:pt>
                <c:pt idx="13">
                  <c:v>26</c:v>
                </c:pt>
                <c:pt idx="14">
                  <c:v>30</c:v>
                </c:pt>
                <c:pt idx="15">
                  <c:v>18</c:v>
                </c:pt>
                <c:pt idx="16">
                  <c:v>-5</c:v>
                </c:pt>
                <c:pt idx="17">
                  <c:v>-5</c:v>
                </c:pt>
                <c:pt idx="18">
                  <c:v>8</c:v>
                </c:pt>
                <c:pt idx="19">
                  <c:v>-4</c:v>
                </c:pt>
                <c:pt idx="20">
                  <c:v>-24</c:v>
                </c:pt>
                <c:pt idx="21">
                  <c:v>-11</c:v>
                </c:pt>
                <c:pt idx="22">
                  <c:v>-2</c:v>
                </c:pt>
                <c:pt idx="23">
                  <c:v>-11</c:v>
                </c:pt>
                <c:pt idx="24">
                  <c:v>-13</c:v>
                </c:pt>
                <c:pt idx="25">
                  <c:v>5</c:v>
                </c:pt>
                <c:pt idx="26">
                  <c:v>15</c:v>
                </c:pt>
                <c:pt idx="27">
                  <c:v>3</c:v>
                </c:pt>
                <c:pt idx="28">
                  <c:v>-12</c:v>
                </c:pt>
                <c:pt idx="29">
                  <c:v>-4</c:v>
                </c:pt>
                <c:pt idx="30">
                  <c:v>10</c:v>
                </c:pt>
                <c:pt idx="31">
                  <c:v>1</c:v>
                </c:pt>
                <c:pt idx="32">
                  <c:v>-3</c:v>
                </c:pt>
                <c:pt idx="33">
                  <c:v>1</c:v>
                </c:pt>
                <c:pt idx="34">
                  <c:v>18</c:v>
                </c:pt>
                <c:pt idx="35">
                  <c:v>4</c:v>
                </c:pt>
                <c:pt idx="36">
                  <c:v>9</c:v>
                </c:pt>
                <c:pt idx="37">
                  <c:v>14</c:v>
                </c:pt>
                <c:pt idx="38">
                  <c:v>24</c:v>
                </c:pt>
                <c:pt idx="39">
                  <c:v>24</c:v>
                </c:pt>
                <c:pt idx="40">
                  <c:v>21.45</c:v>
                </c:pt>
                <c:pt idx="41">
                  <c:v>26.4</c:v>
                </c:pt>
                <c:pt idx="42">
                  <c:v>24.3</c:v>
                </c:pt>
                <c:pt idx="43">
                  <c:v>11.46</c:v>
                </c:pt>
                <c:pt idx="44">
                  <c:v>0.45</c:v>
                </c:pt>
                <c:pt idx="45">
                  <c:v>4.71</c:v>
                </c:pt>
                <c:pt idx="46">
                  <c:v>12.19</c:v>
                </c:pt>
                <c:pt idx="47">
                  <c:v>-2.73</c:v>
                </c:pt>
                <c:pt idx="48">
                  <c:v>-16.66</c:v>
                </c:pt>
                <c:pt idx="49">
                  <c:v>-6.75</c:v>
                </c:pt>
                <c:pt idx="50">
                  <c:v>-41.7</c:v>
                </c:pt>
                <c:pt idx="51">
                  <c:v>-43.66</c:v>
                </c:pt>
                <c:pt idx="52">
                  <c:v>-16.29</c:v>
                </c:pt>
                <c:pt idx="53">
                  <c:v>7.89</c:v>
                </c:pt>
                <c:pt idx="54">
                  <c:v>26.61</c:v>
                </c:pt>
                <c:pt idx="55">
                  <c:v>29.11</c:v>
                </c:pt>
                <c:pt idx="56">
                  <c:v>21.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6677.17</c:v>
                </c:pt>
                <c:pt idx="2">
                  <c:v>6914.21</c:v>
                </c:pt>
                <c:pt idx="3">
                  <c:v>6762.37</c:v>
                </c:pt>
                <c:pt idx="4">
                  <c:v>8852.84</c:v>
                </c:pt>
                <c:pt idx="5">
                  <c:v>8101.76</c:v>
                </c:pt>
                <c:pt idx="6">
                  <c:v>8396.89</c:v>
                </c:pt>
                <c:pt idx="7">
                  <c:v>7378.31</c:v>
                </c:pt>
                <c:pt idx="8">
                  <c:v>9127.94</c:v>
                </c:pt>
                <c:pt idx="9">
                  <c:v>7916.01</c:v>
                </c:pt>
                <c:pt idx="10">
                  <c:v>8266.0300000000007</c:v>
                </c:pt>
                <c:pt idx="11">
                  <c:v>7331.61</c:v>
                </c:pt>
                <c:pt idx="12">
                  <c:v>8576.7999999999993</c:v>
                </c:pt>
                <c:pt idx="13">
                  <c:v>6744.93</c:v>
                </c:pt>
                <c:pt idx="14">
                  <c:v>7210.16</c:v>
                </c:pt>
                <c:pt idx="15">
                  <c:v>6535.54</c:v>
                </c:pt>
                <c:pt idx="16">
                  <c:v>7319.78</c:v>
                </c:pt>
                <c:pt idx="17">
                  <c:v>7279.55</c:v>
                </c:pt>
                <c:pt idx="18">
                  <c:v>7566.89</c:v>
                </c:pt>
                <c:pt idx="19">
                  <c:v>8938.51</c:v>
                </c:pt>
                <c:pt idx="20">
                  <c:v>7671.24</c:v>
                </c:pt>
                <c:pt idx="21">
                  <c:v>6624.86</c:v>
                </c:pt>
                <c:pt idx="22">
                  <c:v>8621.6299999999992</c:v>
                </c:pt>
                <c:pt idx="23">
                  <c:v>6946.99</c:v>
                </c:pt>
                <c:pt idx="24">
                  <c:v>7838.43</c:v>
                </c:pt>
                <c:pt idx="25">
                  <c:v>6718.06</c:v>
                </c:pt>
                <c:pt idx="26">
                  <c:v>6389.7</c:v>
                </c:pt>
                <c:pt idx="27">
                  <c:v>6375.74</c:v>
                </c:pt>
                <c:pt idx="28">
                  <c:v>7857.1</c:v>
                </c:pt>
                <c:pt idx="29">
                  <c:v>7466.2</c:v>
                </c:pt>
                <c:pt idx="30">
                  <c:v>9460.23</c:v>
                </c:pt>
                <c:pt idx="31">
                  <c:v>7113.24</c:v>
                </c:pt>
                <c:pt idx="32">
                  <c:v>11080.75</c:v>
                </c:pt>
                <c:pt idx="33">
                  <c:v>8905.74</c:v>
                </c:pt>
                <c:pt idx="34">
                  <c:v>8618.24</c:v>
                </c:pt>
                <c:pt idx="35">
                  <c:v>8708.7199999999993</c:v>
                </c:pt>
                <c:pt idx="36">
                  <c:v>9882.26</c:v>
                </c:pt>
                <c:pt idx="37">
                  <c:v>9912.0300000000007</c:v>
                </c:pt>
                <c:pt idx="38">
                  <c:v>9496.89</c:v>
                </c:pt>
                <c:pt idx="39">
                  <c:v>9865.7999999999993</c:v>
                </c:pt>
                <c:pt idx="40">
                  <c:v>11318.08</c:v>
                </c:pt>
                <c:pt idx="41">
                  <c:v>8824.65</c:v>
                </c:pt>
                <c:pt idx="42">
                  <c:v>8199.49</c:v>
                </c:pt>
                <c:pt idx="43">
                  <c:v>8663.39</c:v>
                </c:pt>
                <c:pt idx="44">
                  <c:v>13084.19</c:v>
                </c:pt>
                <c:pt idx="45">
                  <c:v>9243.14</c:v>
                </c:pt>
                <c:pt idx="46">
                  <c:v>9873.67</c:v>
                </c:pt>
                <c:pt idx="47">
                  <c:v>9273.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5053.96</c:v>
                </c:pt>
                <c:pt idx="2">
                  <c:v>5426.11</c:v>
                </c:pt>
                <c:pt idx="3">
                  <c:v>5327.39</c:v>
                </c:pt>
                <c:pt idx="4">
                  <c:v>6660.03</c:v>
                </c:pt>
                <c:pt idx="5">
                  <c:v>5740.63</c:v>
                </c:pt>
                <c:pt idx="6">
                  <c:v>6446.4</c:v>
                </c:pt>
                <c:pt idx="7">
                  <c:v>5589.41</c:v>
                </c:pt>
                <c:pt idx="8">
                  <c:v>6975.36</c:v>
                </c:pt>
                <c:pt idx="9">
                  <c:v>5931.88</c:v>
                </c:pt>
                <c:pt idx="10">
                  <c:v>6383.7</c:v>
                </c:pt>
                <c:pt idx="11">
                  <c:v>5857.73</c:v>
                </c:pt>
                <c:pt idx="12">
                  <c:v>6865.28</c:v>
                </c:pt>
                <c:pt idx="13">
                  <c:v>5032.8</c:v>
                </c:pt>
                <c:pt idx="14">
                  <c:v>5373.98</c:v>
                </c:pt>
                <c:pt idx="15">
                  <c:v>5079.68</c:v>
                </c:pt>
                <c:pt idx="16">
                  <c:v>5698.72</c:v>
                </c:pt>
                <c:pt idx="17">
                  <c:v>5266.56</c:v>
                </c:pt>
                <c:pt idx="18">
                  <c:v>5473.93</c:v>
                </c:pt>
                <c:pt idx="19">
                  <c:v>6442.2</c:v>
                </c:pt>
                <c:pt idx="20">
                  <c:v>5727.5</c:v>
                </c:pt>
                <c:pt idx="21">
                  <c:v>4669.6499999999996</c:v>
                </c:pt>
                <c:pt idx="22">
                  <c:v>6264.88</c:v>
                </c:pt>
                <c:pt idx="23">
                  <c:v>5326.31</c:v>
                </c:pt>
                <c:pt idx="24">
                  <c:v>5575.88</c:v>
                </c:pt>
                <c:pt idx="25">
                  <c:v>4651.22</c:v>
                </c:pt>
                <c:pt idx="26">
                  <c:v>4457.4399999999996</c:v>
                </c:pt>
                <c:pt idx="27">
                  <c:v>4548.6499999999996</c:v>
                </c:pt>
                <c:pt idx="28">
                  <c:v>5454.68</c:v>
                </c:pt>
                <c:pt idx="29">
                  <c:v>5466.41</c:v>
                </c:pt>
                <c:pt idx="30">
                  <c:v>7322.9</c:v>
                </c:pt>
                <c:pt idx="31">
                  <c:v>5047.16</c:v>
                </c:pt>
                <c:pt idx="32">
                  <c:v>8123.95</c:v>
                </c:pt>
                <c:pt idx="33">
                  <c:v>5832.09</c:v>
                </c:pt>
                <c:pt idx="34">
                  <c:v>6158.97</c:v>
                </c:pt>
                <c:pt idx="35">
                  <c:v>6464.53</c:v>
                </c:pt>
                <c:pt idx="36">
                  <c:v>7095.31</c:v>
                </c:pt>
                <c:pt idx="37">
                  <c:v>7011.39</c:v>
                </c:pt>
                <c:pt idx="38">
                  <c:v>6537.66</c:v>
                </c:pt>
                <c:pt idx="39">
                  <c:v>7083.64</c:v>
                </c:pt>
                <c:pt idx="40">
                  <c:v>8682.31</c:v>
                </c:pt>
                <c:pt idx="41">
                  <c:v>6217.01</c:v>
                </c:pt>
                <c:pt idx="42">
                  <c:v>5729.6</c:v>
                </c:pt>
                <c:pt idx="43">
                  <c:v>6367.42</c:v>
                </c:pt>
                <c:pt idx="44">
                  <c:v>9553</c:v>
                </c:pt>
                <c:pt idx="45">
                  <c:v>6611.19</c:v>
                </c:pt>
                <c:pt idx="46">
                  <c:v>7633.92</c:v>
                </c:pt>
                <c:pt idx="47">
                  <c:v>7339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1591.59</c:v>
                </c:pt>
                <c:pt idx="2">
                  <c:v>1454.69</c:v>
                </c:pt>
                <c:pt idx="3">
                  <c:v>1396.26</c:v>
                </c:pt>
                <c:pt idx="4">
                  <c:v>2128.92</c:v>
                </c:pt>
                <c:pt idx="5">
                  <c:v>2288.59</c:v>
                </c:pt>
                <c:pt idx="6">
                  <c:v>1893.97</c:v>
                </c:pt>
                <c:pt idx="7">
                  <c:v>1721.71</c:v>
                </c:pt>
                <c:pt idx="8">
                  <c:v>2073.54</c:v>
                </c:pt>
                <c:pt idx="9">
                  <c:v>1896.63</c:v>
                </c:pt>
                <c:pt idx="10">
                  <c:v>1803.52</c:v>
                </c:pt>
                <c:pt idx="11">
                  <c:v>1417.58</c:v>
                </c:pt>
                <c:pt idx="12">
                  <c:v>1646.7</c:v>
                </c:pt>
                <c:pt idx="13">
                  <c:v>1634.57</c:v>
                </c:pt>
                <c:pt idx="14">
                  <c:v>1768.48</c:v>
                </c:pt>
                <c:pt idx="15">
                  <c:v>1390.94</c:v>
                </c:pt>
                <c:pt idx="16">
                  <c:v>1542.1</c:v>
                </c:pt>
                <c:pt idx="17">
                  <c:v>1929.12</c:v>
                </c:pt>
                <c:pt idx="18">
                  <c:v>2014.95</c:v>
                </c:pt>
                <c:pt idx="19">
                  <c:v>2436.63</c:v>
                </c:pt>
                <c:pt idx="20">
                  <c:v>1841.61</c:v>
                </c:pt>
                <c:pt idx="21">
                  <c:v>1862.07</c:v>
                </c:pt>
                <c:pt idx="22">
                  <c:v>2257.9899999999998</c:v>
                </c:pt>
                <c:pt idx="23">
                  <c:v>1546.46</c:v>
                </c:pt>
                <c:pt idx="24">
                  <c:v>2174.52</c:v>
                </c:pt>
                <c:pt idx="25">
                  <c:v>1965.12</c:v>
                </c:pt>
                <c:pt idx="26">
                  <c:v>1830.05</c:v>
                </c:pt>
                <c:pt idx="27">
                  <c:v>1739.98</c:v>
                </c:pt>
                <c:pt idx="28">
                  <c:v>2299.25</c:v>
                </c:pt>
                <c:pt idx="29">
                  <c:v>1884.55</c:v>
                </c:pt>
                <c:pt idx="30">
                  <c:v>2021.1</c:v>
                </c:pt>
                <c:pt idx="31">
                  <c:v>1972.14</c:v>
                </c:pt>
                <c:pt idx="32">
                  <c:v>2822.96</c:v>
                </c:pt>
                <c:pt idx="33">
                  <c:v>2882.26</c:v>
                </c:pt>
                <c:pt idx="34">
                  <c:v>2285.6999999999998</c:v>
                </c:pt>
                <c:pt idx="35">
                  <c:v>2107.0500000000002</c:v>
                </c:pt>
                <c:pt idx="36">
                  <c:v>2606.64</c:v>
                </c:pt>
                <c:pt idx="37">
                  <c:v>2723.16</c:v>
                </c:pt>
                <c:pt idx="38">
                  <c:v>2809.65</c:v>
                </c:pt>
                <c:pt idx="39">
                  <c:v>2667.15</c:v>
                </c:pt>
                <c:pt idx="40">
                  <c:v>2464.94</c:v>
                </c:pt>
                <c:pt idx="41">
                  <c:v>2431.56</c:v>
                </c:pt>
                <c:pt idx="42">
                  <c:v>2298.0100000000002</c:v>
                </c:pt>
                <c:pt idx="43">
                  <c:v>2147.4299999999998</c:v>
                </c:pt>
                <c:pt idx="44">
                  <c:v>3339.26</c:v>
                </c:pt>
                <c:pt idx="45">
                  <c:v>2439.38</c:v>
                </c:pt>
                <c:pt idx="46">
                  <c:v>2026.26</c:v>
                </c:pt>
                <c:pt idx="47">
                  <c:v>1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2108.35</c:v>
                </c:pt>
                <c:pt idx="2">
                  <c:v>2586.9699999999998</c:v>
                </c:pt>
                <c:pt idx="3">
                  <c:v>2337.67</c:v>
                </c:pt>
                <c:pt idx="4">
                  <c:v>3150.51</c:v>
                </c:pt>
                <c:pt idx="5">
                  <c:v>3349.58</c:v>
                </c:pt>
                <c:pt idx="6">
                  <c:v>4224.12</c:v>
                </c:pt>
                <c:pt idx="7">
                  <c:v>3164.09</c:v>
                </c:pt>
                <c:pt idx="8">
                  <c:v>3697.19</c:v>
                </c:pt>
                <c:pt idx="9">
                  <c:v>3523.83</c:v>
                </c:pt>
                <c:pt idx="10">
                  <c:v>3366.09</c:v>
                </c:pt>
                <c:pt idx="11">
                  <c:v>3073.93</c:v>
                </c:pt>
                <c:pt idx="12">
                  <c:v>3793.75</c:v>
                </c:pt>
                <c:pt idx="13">
                  <c:v>3072.78</c:v>
                </c:pt>
                <c:pt idx="14">
                  <c:v>3353.69</c:v>
                </c:pt>
                <c:pt idx="15">
                  <c:v>3090.56</c:v>
                </c:pt>
                <c:pt idx="16">
                  <c:v>3091.46</c:v>
                </c:pt>
                <c:pt idx="17">
                  <c:v>3774.95</c:v>
                </c:pt>
                <c:pt idx="18">
                  <c:v>4117.04</c:v>
                </c:pt>
                <c:pt idx="19">
                  <c:v>4831.95</c:v>
                </c:pt>
                <c:pt idx="20">
                  <c:v>3818.74</c:v>
                </c:pt>
                <c:pt idx="21">
                  <c:v>3448.84</c:v>
                </c:pt>
                <c:pt idx="22">
                  <c:v>5464.23</c:v>
                </c:pt>
                <c:pt idx="23">
                  <c:v>4115.41</c:v>
                </c:pt>
                <c:pt idx="24">
                  <c:v>3844.57</c:v>
                </c:pt>
                <c:pt idx="25">
                  <c:v>3516.28</c:v>
                </c:pt>
                <c:pt idx="26">
                  <c:v>3258.95</c:v>
                </c:pt>
                <c:pt idx="27">
                  <c:v>3104.9</c:v>
                </c:pt>
                <c:pt idx="28">
                  <c:v>4123.99</c:v>
                </c:pt>
                <c:pt idx="29">
                  <c:v>4064.98</c:v>
                </c:pt>
                <c:pt idx="30">
                  <c:v>5876.75</c:v>
                </c:pt>
                <c:pt idx="31">
                  <c:v>3757.23</c:v>
                </c:pt>
                <c:pt idx="32">
                  <c:v>7173.1</c:v>
                </c:pt>
                <c:pt idx="33">
                  <c:v>4777.28</c:v>
                </c:pt>
                <c:pt idx="34">
                  <c:v>4721.8599999999997</c:v>
                </c:pt>
                <c:pt idx="35">
                  <c:v>4827.2</c:v>
                </c:pt>
                <c:pt idx="36">
                  <c:v>5462.15</c:v>
                </c:pt>
                <c:pt idx="37">
                  <c:v>5392.21</c:v>
                </c:pt>
                <c:pt idx="38">
                  <c:v>4901.93</c:v>
                </c:pt>
                <c:pt idx="39">
                  <c:v>4755.84</c:v>
                </c:pt>
                <c:pt idx="40">
                  <c:v>5632.69</c:v>
                </c:pt>
                <c:pt idx="41">
                  <c:v>4335.7299999999996</c:v>
                </c:pt>
                <c:pt idx="42">
                  <c:v>3329.08</c:v>
                </c:pt>
                <c:pt idx="43">
                  <c:v>3767.46</c:v>
                </c:pt>
                <c:pt idx="44">
                  <c:v>5635.73</c:v>
                </c:pt>
                <c:pt idx="45">
                  <c:v>4605.2700000000004</c:v>
                </c:pt>
                <c:pt idx="46">
                  <c:v>4963.7299999999996</c:v>
                </c:pt>
                <c:pt idx="47">
                  <c:v>4272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1524.01</c:v>
                </c:pt>
                <c:pt idx="2">
                  <c:v>1871.79</c:v>
                </c:pt>
                <c:pt idx="3">
                  <c:v>1825.93</c:v>
                </c:pt>
                <c:pt idx="4">
                  <c:v>2164.46</c:v>
                </c:pt>
                <c:pt idx="5">
                  <c:v>2287.36</c:v>
                </c:pt>
                <c:pt idx="6">
                  <c:v>3102.04</c:v>
                </c:pt>
                <c:pt idx="7">
                  <c:v>2370.12</c:v>
                </c:pt>
                <c:pt idx="8">
                  <c:v>2749.52</c:v>
                </c:pt>
                <c:pt idx="9">
                  <c:v>2575.0500000000002</c:v>
                </c:pt>
                <c:pt idx="10">
                  <c:v>2430.04</c:v>
                </c:pt>
                <c:pt idx="11">
                  <c:v>2245.09</c:v>
                </c:pt>
                <c:pt idx="12">
                  <c:v>2898.92</c:v>
                </c:pt>
                <c:pt idx="13">
                  <c:v>2281.4699999999998</c:v>
                </c:pt>
                <c:pt idx="14">
                  <c:v>2329.44</c:v>
                </c:pt>
                <c:pt idx="15">
                  <c:v>2320.92</c:v>
                </c:pt>
                <c:pt idx="16">
                  <c:v>2238.6799999999998</c:v>
                </c:pt>
                <c:pt idx="17">
                  <c:v>2650.31</c:v>
                </c:pt>
                <c:pt idx="18">
                  <c:v>2813.12</c:v>
                </c:pt>
                <c:pt idx="19">
                  <c:v>3147.72</c:v>
                </c:pt>
                <c:pt idx="20">
                  <c:v>2742.63</c:v>
                </c:pt>
                <c:pt idx="21">
                  <c:v>2412.31</c:v>
                </c:pt>
                <c:pt idx="22">
                  <c:v>3999.83</c:v>
                </c:pt>
                <c:pt idx="23">
                  <c:v>3288.51</c:v>
                </c:pt>
                <c:pt idx="24">
                  <c:v>2690.71</c:v>
                </c:pt>
                <c:pt idx="25">
                  <c:v>2301.42</c:v>
                </c:pt>
                <c:pt idx="26">
                  <c:v>2157.0700000000002</c:v>
                </c:pt>
                <c:pt idx="27">
                  <c:v>2152.89</c:v>
                </c:pt>
                <c:pt idx="28">
                  <c:v>2721.91</c:v>
                </c:pt>
                <c:pt idx="29">
                  <c:v>3000.11</c:v>
                </c:pt>
                <c:pt idx="30">
                  <c:v>4767.71</c:v>
                </c:pt>
                <c:pt idx="31">
                  <c:v>2780.36</c:v>
                </c:pt>
                <c:pt idx="32">
                  <c:v>5507.79</c:v>
                </c:pt>
                <c:pt idx="33">
                  <c:v>3152.23</c:v>
                </c:pt>
                <c:pt idx="34">
                  <c:v>3537.99</c:v>
                </c:pt>
                <c:pt idx="35">
                  <c:v>3761.05</c:v>
                </c:pt>
                <c:pt idx="36">
                  <c:v>4055.03</c:v>
                </c:pt>
                <c:pt idx="37">
                  <c:v>3878.75</c:v>
                </c:pt>
                <c:pt idx="38">
                  <c:v>3374.05</c:v>
                </c:pt>
                <c:pt idx="39">
                  <c:v>3116.23</c:v>
                </c:pt>
                <c:pt idx="40">
                  <c:v>4370.43</c:v>
                </c:pt>
                <c:pt idx="41">
                  <c:v>3156.86</c:v>
                </c:pt>
                <c:pt idx="42">
                  <c:v>2157.46</c:v>
                </c:pt>
                <c:pt idx="43">
                  <c:v>2625.29</c:v>
                </c:pt>
                <c:pt idx="44">
                  <c:v>3565.19</c:v>
                </c:pt>
                <c:pt idx="45">
                  <c:v>3439.48</c:v>
                </c:pt>
                <c:pt idx="46">
                  <c:v>4111.45</c:v>
                </c:pt>
                <c:pt idx="47">
                  <c:v>3585.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584.34</c:v>
                </c:pt>
                <c:pt idx="2">
                  <c:v>715.18</c:v>
                </c:pt>
                <c:pt idx="3">
                  <c:v>511.74</c:v>
                </c:pt>
                <c:pt idx="4">
                  <c:v>986.04</c:v>
                </c:pt>
                <c:pt idx="5">
                  <c:v>1062.22</c:v>
                </c:pt>
                <c:pt idx="6">
                  <c:v>1122.07</c:v>
                </c:pt>
                <c:pt idx="7">
                  <c:v>793.97</c:v>
                </c:pt>
                <c:pt idx="8">
                  <c:v>947.67</c:v>
                </c:pt>
                <c:pt idx="9">
                  <c:v>948.79</c:v>
                </c:pt>
                <c:pt idx="10">
                  <c:v>936.05</c:v>
                </c:pt>
                <c:pt idx="11">
                  <c:v>828.84</c:v>
                </c:pt>
                <c:pt idx="12">
                  <c:v>894.83</c:v>
                </c:pt>
                <c:pt idx="13">
                  <c:v>791.31</c:v>
                </c:pt>
                <c:pt idx="14">
                  <c:v>1024.25</c:v>
                </c:pt>
                <c:pt idx="15">
                  <c:v>769.64</c:v>
                </c:pt>
                <c:pt idx="16">
                  <c:v>852.78</c:v>
                </c:pt>
                <c:pt idx="17">
                  <c:v>1124.6400000000001</c:v>
                </c:pt>
                <c:pt idx="18">
                  <c:v>1303.92</c:v>
                </c:pt>
                <c:pt idx="19">
                  <c:v>1684.23</c:v>
                </c:pt>
                <c:pt idx="20">
                  <c:v>1076.1099999999999</c:v>
                </c:pt>
                <c:pt idx="21">
                  <c:v>1036.53</c:v>
                </c:pt>
                <c:pt idx="22">
                  <c:v>1464.41</c:v>
                </c:pt>
                <c:pt idx="23">
                  <c:v>826.9</c:v>
                </c:pt>
                <c:pt idx="24">
                  <c:v>1153.8699999999999</c:v>
                </c:pt>
                <c:pt idx="25">
                  <c:v>1214.8599999999999</c:v>
                </c:pt>
                <c:pt idx="26">
                  <c:v>1101.8800000000001</c:v>
                </c:pt>
                <c:pt idx="27">
                  <c:v>952.01</c:v>
                </c:pt>
                <c:pt idx="28">
                  <c:v>1402.08</c:v>
                </c:pt>
                <c:pt idx="29">
                  <c:v>1064.8699999999999</c:v>
                </c:pt>
                <c:pt idx="30">
                  <c:v>1109.04</c:v>
                </c:pt>
                <c:pt idx="31">
                  <c:v>976.87</c:v>
                </c:pt>
                <c:pt idx="32">
                  <c:v>1665.3</c:v>
                </c:pt>
                <c:pt idx="33">
                  <c:v>1625.05</c:v>
                </c:pt>
                <c:pt idx="34">
                  <c:v>1183.8699999999999</c:v>
                </c:pt>
                <c:pt idx="35">
                  <c:v>1066.1500000000001</c:v>
                </c:pt>
                <c:pt idx="36">
                  <c:v>1407.12</c:v>
                </c:pt>
                <c:pt idx="37">
                  <c:v>1513.47</c:v>
                </c:pt>
                <c:pt idx="38">
                  <c:v>1527.88</c:v>
                </c:pt>
                <c:pt idx="39">
                  <c:v>1639.61</c:v>
                </c:pt>
                <c:pt idx="40">
                  <c:v>1262.26</c:v>
                </c:pt>
                <c:pt idx="41">
                  <c:v>1178.8699999999999</c:v>
                </c:pt>
                <c:pt idx="42">
                  <c:v>1171.6199999999999</c:v>
                </c:pt>
                <c:pt idx="43">
                  <c:v>1142.17</c:v>
                </c:pt>
                <c:pt idx="44">
                  <c:v>2070.54</c:v>
                </c:pt>
                <c:pt idx="45">
                  <c:v>1165.79</c:v>
                </c:pt>
                <c:pt idx="46">
                  <c:v>852.28</c:v>
                </c:pt>
                <c:pt idx="47">
                  <c:v>687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34626304515568E-2"/>
          <c:y val="3.3872934059659576E-2"/>
          <c:w val="0.77234394913663618"/>
          <c:h val="0.88516485812511014"/>
        </c:manualLayout>
      </c:layout>
      <c:areaChart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Kotimaahan </c:v>
                </c:pt>
              </c:strCache>
            </c:strRef>
          </c:tx>
          <c:spPr>
            <a:solidFill>
              <a:schemeClr val="accent2"/>
            </a:solidFill>
            <a:ln w="11167">
              <a:noFill/>
              <a:prstDash val="sysDash"/>
            </a:ln>
          </c:spPr>
          <c:cat>
            <c:strRef>
              <c:f>Sheet1!$A$2:$A$49</c:f>
              <c:strCache>
                <c:ptCount val="46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1200.9000000000001</c:v>
                </c:pt>
                <c:pt idx="1">
                  <c:v>1162.0999999999999</c:v>
                </c:pt>
                <c:pt idx="2">
                  <c:v>1253.2</c:v>
                </c:pt>
                <c:pt idx="3">
                  <c:v>1088.2</c:v>
                </c:pt>
                <c:pt idx="4">
                  <c:v>1395.8</c:v>
                </c:pt>
                <c:pt idx="5">
                  <c:v>1744.4</c:v>
                </c:pt>
                <c:pt idx="6">
                  <c:v>1931.1</c:v>
                </c:pt>
                <c:pt idx="7">
                  <c:v>1873.8</c:v>
                </c:pt>
                <c:pt idx="8">
                  <c:v>1756.7</c:v>
                </c:pt>
                <c:pt idx="9">
                  <c:v>1818</c:v>
                </c:pt>
                <c:pt idx="10">
                  <c:v>2075.1999999999998</c:v>
                </c:pt>
                <c:pt idx="11">
                  <c:v>1673.7</c:v>
                </c:pt>
                <c:pt idx="12">
                  <c:v>1688.4</c:v>
                </c:pt>
                <c:pt idx="13">
                  <c:v>1474.2</c:v>
                </c:pt>
                <c:pt idx="14">
                  <c:v>1585.1</c:v>
                </c:pt>
                <c:pt idx="15">
                  <c:v>1598.9</c:v>
                </c:pt>
                <c:pt idx="16">
                  <c:v>1415.2</c:v>
                </c:pt>
                <c:pt idx="17">
                  <c:v>1613.4</c:v>
                </c:pt>
                <c:pt idx="18">
                  <c:v>1699.2</c:v>
                </c:pt>
                <c:pt idx="19">
                  <c:v>2152.6999999999998</c:v>
                </c:pt>
                <c:pt idx="20">
                  <c:v>2227.1999999999998</c:v>
                </c:pt>
                <c:pt idx="21">
                  <c:v>2327.9</c:v>
                </c:pt>
                <c:pt idx="22">
                  <c:v>2451.6</c:v>
                </c:pt>
                <c:pt idx="23">
                  <c:v>2236.6999999999998</c:v>
                </c:pt>
                <c:pt idx="24">
                  <c:v>2257.6</c:v>
                </c:pt>
                <c:pt idx="25">
                  <c:v>2393.8000000000002</c:v>
                </c:pt>
                <c:pt idx="26">
                  <c:v>2299</c:v>
                </c:pt>
                <c:pt idx="27">
                  <c:v>2020.2</c:v>
                </c:pt>
                <c:pt idx="28">
                  <c:v>2112</c:v>
                </c:pt>
                <c:pt idx="29">
                  <c:v>2103.4</c:v>
                </c:pt>
                <c:pt idx="30">
                  <c:v>2103.6</c:v>
                </c:pt>
                <c:pt idx="31">
                  <c:v>1901.7</c:v>
                </c:pt>
                <c:pt idx="32">
                  <c:v>2115.6</c:v>
                </c:pt>
                <c:pt idx="33">
                  <c:v>2515</c:v>
                </c:pt>
                <c:pt idx="34">
                  <c:v>2361.6</c:v>
                </c:pt>
                <c:pt idx="35">
                  <c:v>2333.6</c:v>
                </c:pt>
                <c:pt idx="36">
                  <c:v>2383.6999999999998</c:v>
                </c:pt>
                <c:pt idx="37">
                  <c:v>2570.4</c:v>
                </c:pt>
                <c:pt idx="38">
                  <c:v>2668.9</c:v>
                </c:pt>
                <c:pt idx="39">
                  <c:v>3128.3</c:v>
                </c:pt>
                <c:pt idx="40">
                  <c:v>3023.8</c:v>
                </c:pt>
                <c:pt idx="41">
                  <c:v>3017</c:v>
                </c:pt>
                <c:pt idx="42">
                  <c:v>2934.4</c:v>
                </c:pt>
                <c:pt idx="43">
                  <c:v>2853.9</c:v>
                </c:pt>
                <c:pt idx="44">
                  <c:v>3561.7</c:v>
                </c:pt>
                <c:pt idx="45">
                  <c:v>4165.7</c:v>
                </c:pt>
                <c:pt idx="46">
                  <c:v>4221.5</c:v>
                </c:pt>
                <c:pt idx="47">
                  <c:v>416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D9-48DF-B9E2-392C6345A84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167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cat>
            <c:strRef>
              <c:f>Sheet1!$A$2:$A$49</c:f>
              <c:strCache>
                <c:ptCount val="46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7004</c:v>
                </c:pt>
                <c:pt idx="1">
                  <c:v>6734.9</c:v>
                </c:pt>
                <c:pt idx="2">
                  <c:v>6741.3</c:v>
                </c:pt>
                <c:pt idx="3">
                  <c:v>6675.1</c:v>
                </c:pt>
                <c:pt idx="4">
                  <c:v>5712.6</c:v>
                </c:pt>
                <c:pt idx="5">
                  <c:v>5723.4</c:v>
                </c:pt>
                <c:pt idx="6">
                  <c:v>6449.8</c:v>
                </c:pt>
                <c:pt idx="7">
                  <c:v>6786.7</c:v>
                </c:pt>
                <c:pt idx="8">
                  <c:v>6854.5</c:v>
                </c:pt>
                <c:pt idx="9">
                  <c:v>6939.1</c:v>
                </c:pt>
                <c:pt idx="10">
                  <c:v>6596.5</c:v>
                </c:pt>
                <c:pt idx="11">
                  <c:v>6311.8</c:v>
                </c:pt>
                <c:pt idx="12">
                  <c:v>6637.2</c:v>
                </c:pt>
                <c:pt idx="13">
                  <c:v>6888.3</c:v>
                </c:pt>
                <c:pt idx="14">
                  <c:v>6639.8</c:v>
                </c:pt>
                <c:pt idx="15">
                  <c:v>6681.3</c:v>
                </c:pt>
                <c:pt idx="16">
                  <c:v>6058.3</c:v>
                </c:pt>
                <c:pt idx="17">
                  <c:v>6569.1</c:v>
                </c:pt>
                <c:pt idx="18">
                  <c:v>6584</c:v>
                </c:pt>
                <c:pt idx="19">
                  <c:v>7212.4</c:v>
                </c:pt>
                <c:pt idx="20">
                  <c:v>7299</c:v>
                </c:pt>
                <c:pt idx="21">
                  <c:v>7521.6</c:v>
                </c:pt>
                <c:pt idx="22">
                  <c:v>8500</c:v>
                </c:pt>
                <c:pt idx="23">
                  <c:v>9509.4</c:v>
                </c:pt>
                <c:pt idx="24">
                  <c:v>9625.4</c:v>
                </c:pt>
                <c:pt idx="25">
                  <c:v>9803.2000000000007</c:v>
                </c:pt>
                <c:pt idx="26">
                  <c:v>8893.6</c:v>
                </c:pt>
                <c:pt idx="27">
                  <c:v>9267.1</c:v>
                </c:pt>
                <c:pt idx="28">
                  <c:v>9244.7999999999993</c:v>
                </c:pt>
                <c:pt idx="29">
                  <c:v>9907.7999999999993</c:v>
                </c:pt>
                <c:pt idx="30">
                  <c:v>11628.7</c:v>
                </c:pt>
                <c:pt idx="31">
                  <c:v>11884.2</c:v>
                </c:pt>
                <c:pt idx="32">
                  <c:v>13878.2</c:v>
                </c:pt>
                <c:pt idx="33">
                  <c:v>14121.1</c:v>
                </c:pt>
                <c:pt idx="34">
                  <c:v>13811</c:v>
                </c:pt>
                <c:pt idx="35">
                  <c:v>15013.6</c:v>
                </c:pt>
                <c:pt idx="36">
                  <c:v>15526.1</c:v>
                </c:pt>
                <c:pt idx="37">
                  <c:v>16295.7</c:v>
                </c:pt>
                <c:pt idx="38">
                  <c:v>16179.6</c:v>
                </c:pt>
                <c:pt idx="39">
                  <c:v>15374.6</c:v>
                </c:pt>
                <c:pt idx="40">
                  <c:v>15537.3</c:v>
                </c:pt>
                <c:pt idx="41">
                  <c:v>15362.2</c:v>
                </c:pt>
                <c:pt idx="42">
                  <c:v>14904.5</c:v>
                </c:pt>
                <c:pt idx="43">
                  <c:v>14606</c:v>
                </c:pt>
                <c:pt idx="44">
                  <c:v>14136.2</c:v>
                </c:pt>
                <c:pt idx="45">
                  <c:v>14780.3</c:v>
                </c:pt>
                <c:pt idx="46">
                  <c:v>15640.3</c:v>
                </c:pt>
                <c:pt idx="47">
                  <c:v>1664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D9-48DF-B9E2-392C6345A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187016"/>
        <c:axId val="372187408"/>
      </c:areaChart>
      <c:catAx>
        <c:axId val="372187016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82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1874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372187408"/>
        <c:scaling>
          <c:orientation val="minMax"/>
          <c:max val="22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187016"/>
        <c:crosses val="autoZero"/>
        <c:crossBetween val="midCat"/>
        <c:majorUnit val="2000"/>
        <c:minorUnit val="1000"/>
      </c:valAx>
      <c:spPr>
        <a:noFill/>
        <a:ln w="11167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5583681758937358"/>
          <c:y val="0.24509898135690952"/>
          <c:w val="0.10993592557816156"/>
          <c:h val="0.5492774381989054"/>
        </c:manualLayout>
      </c:layout>
      <c:overlay val="0"/>
      <c:spPr>
        <a:solidFill>
          <a:schemeClr val="bg1"/>
        </a:solidFill>
        <a:ln w="2792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2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0.12265014535421991"/>
          <c:w val="0.89915957979696026"/>
          <c:h val="0.603809067511017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0</c:f>
              <c:strCache>
                <c:ptCount val="27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</c:strCache>
            </c:strRef>
          </c:cat>
          <c:val>
            <c:numRef>
              <c:f>Taul1!$B$4:$B$30</c:f>
              <c:numCache>
                <c:formatCode>General</c:formatCode>
                <c:ptCount val="27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0</c:f>
              <c:strCache>
                <c:ptCount val="27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</c:strCache>
            </c:strRef>
          </c:cat>
          <c:val>
            <c:numRef>
              <c:f>Taul1!$C$4:$C$30</c:f>
              <c:numCache>
                <c:formatCode>#,##0</c:formatCode>
                <c:ptCount val="27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Teknologiateollisuus                   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aul1!$A$2:$A$28</c:f>
              <c:strCache>
                <c:ptCount val="27"/>
                <c:pt idx="0">
                  <c:v>2015/1</c:v>
                </c:pt>
                <c:pt idx="1">
                  <c:v>2015/2</c:v>
                </c:pt>
                <c:pt idx="2">
                  <c:v>2015/3</c:v>
                </c:pt>
                <c:pt idx="3">
                  <c:v>2015/4</c:v>
                </c:pt>
                <c:pt idx="4">
                  <c:v>2016/1</c:v>
                </c:pt>
                <c:pt idx="5">
                  <c:v>2016/2</c:v>
                </c:pt>
                <c:pt idx="6">
                  <c:v>2016/3</c:v>
                </c:pt>
                <c:pt idx="7">
                  <c:v>2016/4</c:v>
                </c:pt>
                <c:pt idx="8">
                  <c:v>2017/1</c:v>
                </c:pt>
                <c:pt idx="9">
                  <c:v>2017/2</c:v>
                </c:pt>
                <c:pt idx="10">
                  <c:v>2017/3</c:v>
                </c:pt>
                <c:pt idx="11">
                  <c:v>2017/4</c:v>
                </c:pt>
                <c:pt idx="12">
                  <c:v>2018/1</c:v>
                </c:pt>
                <c:pt idx="13">
                  <c:v>2018/2</c:v>
                </c:pt>
                <c:pt idx="14">
                  <c:v>2018/3</c:v>
                </c:pt>
                <c:pt idx="15">
                  <c:v>2018/4</c:v>
                </c:pt>
                <c:pt idx="16">
                  <c:v>2019/1</c:v>
                </c:pt>
                <c:pt idx="17">
                  <c:v>2019/2</c:v>
                </c:pt>
                <c:pt idx="18">
                  <c:v>2019/3</c:v>
                </c:pt>
                <c:pt idx="19">
                  <c:v>2019/4</c:v>
                </c:pt>
                <c:pt idx="20">
                  <c:v>2020/1</c:v>
                </c:pt>
                <c:pt idx="21">
                  <c:v>2020/2</c:v>
                </c:pt>
                <c:pt idx="22">
                  <c:v>2020/3</c:v>
                </c:pt>
                <c:pt idx="23">
                  <c:v>2020/4</c:v>
                </c:pt>
                <c:pt idx="24">
                  <c:v>2021/1</c:v>
                </c:pt>
                <c:pt idx="25">
                  <c:v>2021/2</c:v>
                </c:pt>
                <c:pt idx="26">
                  <c:v>2021/3</c:v>
                </c:pt>
              </c:strCache>
            </c:strRef>
          </c:cat>
          <c:val>
            <c:numRef>
              <c:f>Taul1!$B$2:$B$28</c:f>
              <c:numCache>
                <c:formatCode>0.0</c:formatCode>
                <c:ptCount val="27"/>
                <c:pt idx="0">
                  <c:v>8.0530000000000008</c:v>
                </c:pt>
                <c:pt idx="1">
                  <c:v>10.048</c:v>
                </c:pt>
                <c:pt idx="2">
                  <c:v>7.2290000000000001</c:v>
                </c:pt>
                <c:pt idx="3">
                  <c:v>6.8239999999999998</c:v>
                </c:pt>
                <c:pt idx="4">
                  <c:v>6.15</c:v>
                </c:pt>
                <c:pt idx="5">
                  <c:v>8.0630000000000006</c:v>
                </c:pt>
                <c:pt idx="6">
                  <c:v>12.039</c:v>
                </c:pt>
                <c:pt idx="7">
                  <c:v>9.3529999999999998</c:v>
                </c:pt>
                <c:pt idx="8">
                  <c:v>15.788</c:v>
                </c:pt>
                <c:pt idx="9">
                  <c:v>17.940999999999999</c:v>
                </c:pt>
                <c:pt idx="10">
                  <c:v>23.209</c:v>
                </c:pt>
                <c:pt idx="11">
                  <c:v>22.655000000000001</c:v>
                </c:pt>
                <c:pt idx="12">
                  <c:v>22.227</c:v>
                </c:pt>
                <c:pt idx="13">
                  <c:v>30.227</c:v>
                </c:pt>
                <c:pt idx="14">
                  <c:v>35.164000000000001</c:v>
                </c:pt>
                <c:pt idx="15">
                  <c:v>21.96</c:v>
                </c:pt>
                <c:pt idx="16">
                  <c:v>26.867000000000001</c:v>
                </c:pt>
                <c:pt idx="17">
                  <c:v>27.954999999999998</c:v>
                </c:pt>
                <c:pt idx="18">
                  <c:v>20</c:v>
                </c:pt>
                <c:pt idx="19">
                  <c:v>19</c:v>
                </c:pt>
                <c:pt idx="20">
                  <c:v>6</c:v>
                </c:pt>
                <c:pt idx="21">
                  <c:v>10</c:v>
                </c:pt>
                <c:pt idx="22">
                  <c:v>13</c:v>
                </c:pt>
                <c:pt idx="23">
                  <c:v>8</c:v>
                </c:pt>
                <c:pt idx="24">
                  <c:v>22</c:v>
                </c:pt>
                <c:pt idx="25">
                  <c:v>20</c:v>
                </c:pt>
                <c:pt idx="26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01B-4F74-A68F-D1810FE2D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995392"/>
        <c:axId val="363989488"/>
      </c:lineChart>
      <c:catAx>
        <c:axId val="36399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3989488"/>
        <c:crosses val="autoZero"/>
        <c:auto val="1"/>
        <c:lblAlgn val="ctr"/>
        <c:lblOffset val="100"/>
        <c:noMultiLvlLbl val="0"/>
      </c:catAx>
      <c:valAx>
        <c:axId val="363989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399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rgbClr val="000000"/>
          </a:solidFill>
        </a:defRPr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5125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6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4.11.2021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.11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einä-syys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I,2021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I,2021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ne- ja metallituoteteollisuuden tilauskanta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.11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570154" cy="24181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30.9.2021.</a:t>
            </a:r>
          </a:p>
        </p:txBody>
      </p:sp>
      <p:graphicFrame>
        <p:nvGraphicFramePr>
          <p:cNvPr id="8" name="Object 3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79512" y="1016527"/>
          <a:ext cx="8856984" cy="285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990389" y="109511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11" name="Taulukko 10"/>
          <p:cNvGraphicFramePr>
            <a:graphicFrameLocks noGrp="1"/>
          </p:cNvGraphicFramePr>
          <p:nvPr/>
        </p:nvGraphicFramePr>
        <p:xfrm>
          <a:off x="3470383" y="3923754"/>
          <a:ext cx="3835454" cy="803820"/>
        </p:xfrm>
        <a:graphic>
          <a:graphicData uri="http://schemas.openxmlformats.org/drawingml/2006/table">
            <a:tbl>
              <a:tblPr/>
              <a:tblGrid>
                <a:gridCol w="829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9.2021 / 30.9.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9.2021 / 30.6.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516030" y="1113179"/>
            <a:ext cx="972015" cy="244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1897" tIns="40949" rIns="81897" bIns="4094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 marL="1370013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Yhteensä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25A6EAF7-AEEF-4B6F-87C7-B2CE2CAC0083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25592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7">
                  <a:extLst>
                    <a:ext uri="{9D8B030D-6E8A-4147-A177-3AD203B41FA5}">
                      <a16:colId xmlns:a16="http://schemas.microsoft.com/office/drawing/2014/main" val="179238529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491431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/>
          <a:lstStyle/>
          <a:p>
            <a:r>
              <a:rPr lang="fi-FI" dirty="0"/>
              <a:t>Teknologiateollisuuden henkilöstömäärä Suomessa jatkoi kasvuaan Q3:ll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2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0217122"/>
              </p:ext>
            </p:extLst>
          </p:nvPr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64271516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C486607F-08B3-4B40-9AF2-6A8647D99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1520" y="174475"/>
            <a:ext cx="7992000" cy="648000"/>
          </a:xfrm>
        </p:spPr>
        <p:txBody>
          <a:bodyPr/>
          <a:lstStyle/>
          <a:p>
            <a:r>
              <a:rPr lang="fi-FI" dirty="0"/>
              <a:t>Osaavan työvoiman saatavuus noussut jälleen nopeasti kasvun esteeksi teknologiateollisuudess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8DC3C09-0592-48B2-A6D1-AD7E19799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3C3213D-B392-4A52-9D51-5FD4B122E0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C775CB7-EF25-48AF-A269-3CAF47252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C93446B-2175-4B03-B269-92ED938153CD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5E225076-6AA2-47D7-A1E9-BCC1C234A8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Mukana teknologiateollisuuden teolliset toimialat</a:t>
            </a:r>
          </a:p>
          <a:p>
            <a:r>
              <a:rPr lang="fi-FI" dirty="0"/>
              <a:t>Lähde: </a:t>
            </a:r>
            <a:r>
              <a:rPr lang="fi-FI" dirty="0" err="1"/>
              <a:t>EK:n</a:t>
            </a:r>
            <a:r>
              <a:rPr lang="fi-FI" dirty="0"/>
              <a:t> suhdannebarometr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74191462-68DD-47B5-AB36-FAF948B19F0C}"/>
              </a:ext>
            </a:extLst>
          </p:cNvPr>
          <p:cNvSpPr txBox="1"/>
          <p:nvPr/>
        </p:nvSpPr>
        <p:spPr>
          <a:xfrm>
            <a:off x="827584" y="1020291"/>
            <a:ext cx="554461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Prosenttia vastaajista raportoi ammattitaitoisen työvoiman puutteen kasvun esteeksi.</a:t>
            </a:r>
          </a:p>
        </p:txBody>
      </p:sp>
    </p:spTree>
    <p:extLst>
      <p:ext uri="{BB962C8B-B14F-4D97-AF65-F5344CB8AC3E}">
        <p14:creationId xmlns:p14="http://schemas.microsoft.com/office/powerpoint/2010/main" val="3881790117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n kysyntätilanne jatkui hyvän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Saatujen uusien tilausten arvo kolmannella neljänneksellä oli pettymys odotuksiin nähden. Uusien tilausten arvo laski 6 % edelliseen neljännekseen verrattun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Näkymät lähikuukausille ovat kuitenkin vielä myönteiset, mutta riskit ja epävarmuus lisääntyne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uotantoa rasittaa edelleen pula raaka-aineista, komponenteista ja välituotteist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Tilanteen helpottuminen siirtyy koko ajan eteenpä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Myös osaajapula on noussut nopeasti kasvua rajoittavaksi tekijäks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uotantokustannukset nousseet teollisuudessa rajusti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Yritysten kannattavuus kovassa paineess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Miljardeja ihmisiä edelleen vailla ensimmäistäkään koronarokotett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Koronariskiä ei voi edelleenkään poissulkea.</a:t>
            </a:r>
            <a:endParaRPr lang="fi-FI" sz="10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ustannuskilpailukyvyn suhteen ei ole varaa virheisiin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6708" y="531722"/>
            <a:ext cx="7440754" cy="4388545"/>
          </a:xfrm>
        </p:spPr>
        <p:txBody>
          <a:bodyPr/>
          <a:lstStyle/>
          <a:p>
            <a:r>
              <a:rPr lang="fi-FI" dirty="0"/>
              <a:t>Maailmantalouden toipumisvauhti hyytymässä - riskit ja epävarmuus kasvaneet</a:t>
            </a:r>
          </a:p>
          <a:p>
            <a:pPr>
              <a:lnSpc>
                <a:spcPct val="100000"/>
              </a:lnSpc>
            </a:pPr>
            <a:endParaRPr lang="fi-FI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Euroopassa ennakoidaan kasvun jatkuvan loppuvuonna, mutta kenties odotuksia heikompan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Teollisuudessa tuotanto ei vieläkään ole jaksanut nousta koronaa edeltävän tason yli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Näkymiä on heikentänyt vaikeana jatkunut raaka-aine-, komponentti-, materiaali- ja energiapula sekä logistiikan haasteet ja näiden seurauksena nähty raju tuotantokustannusten nousu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800" dirty="0"/>
              <a:t>Miljardeja ihmisiä edelleen vailla ensimmäistäkään koronarokotetta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EA16522-6D7C-4EC7-AF1E-1A8A6FD70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pPr marL="10800"/>
            <a:r>
              <a:rPr lang="fi-FI" dirty="0"/>
              <a:t>Euroalueen talous jatkaa kasvuaan, joskin hidastuvalla vauhdill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ADE0556-1A8B-4E29-A14B-AD5682B3E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E05AB-047C-4A5A-B3B0-A239B502E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561BEF1-334D-435F-972D-18DA62231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5D8414E-05B2-45E8-B1A5-433C94DBAC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IHS Markit, Eurostat</a:t>
            </a:r>
          </a:p>
          <a:p>
            <a:r>
              <a:rPr lang="fi-FI" dirty="0"/>
              <a:t>Viimeisin tieto: lokakuu 2021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239ED2DB-3BDD-464A-A04B-0564B0B84A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131590"/>
            <a:ext cx="5867177" cy="3505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507341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CPB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918851518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3" name="Tekstin paikkamerkki 12">
            <a:extLst>
              <a:ext uri="{FF2B5EF4-FFF2-40B4-BE49-F238E27FC236}">
                <a16:creationId xmlns:a16="http://schemas.microsoft.com/office/drawing/2014/main" id="{7E75BD30-45EA-416E-8741-70B2B99111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oimitusketjuhaasteet haittaavat teollisuutta laajasti</a:t>
            </a:r>
          </a:p>
        </p:txBody>
      </p:sp>
    </p:spTree>
    <p:extLst>
      <p:ext uri="{BB962C8B-B14F-4D97-AF65-F5344CB8AC3E}">
        <p14:creationId xmlns:p14="http://schemas.microsoft.com/office/powerpoint/2010/main" val="338336164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uottajahintojen kehitys Suomen teknologiateollisuud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Tilastokeskus</a:t>
            </a:r>
          </a:p>
        </p:txBody>
      </p:sp>
      <p:graphicFrame>
        <p:nvGraphicFramePr>
          <p:cNvPr id="15" name="Sisällön paikkamerkki 14">
            <a:extLst>
              <a:ext uri="{FF2B5EF4-FFF2-40B4-BE49-F238E27FC236}">
                <a16:creationId xmlns:a16="http://schemas.microsoft.com/office/drawing/2014/main" id="{700487CA-A246-4A6D-AFFF-F0216AAC0A9A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915324568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15" name="Sisällön paikkamerkki 14">
                        <a:extLst>
                          <a:ext uri="{FF2B5EF4-FFF2-40B4-BE49-F238E27FC236}">
                            <a16:creationId xmlns:a16="http://schemas.microsoft.com/office/drawing/2014/main" id="{700487CA-A246-4A6D-AFFF-F0216AAC0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247939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435100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Kokonaistilanne suomalaisessa teknologiateollisuudessa on toistaiseksi hyvä, mutta kasvupyrähdys saattaa olla jo ohi</a:t>
            </a:r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Kolmannen vuosineljänneksen tilauskertymän arvo oli odotuksia heikompi – tilauskertymä laski kuusi prosenttia edelliseen neljännekseen verrattuna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Yrityksistä 53 % kertoi tilauskertymänsä arvon laskeneen edelliseen neljännekseen nähden.</a:t>
            </a:r>
          </a:p>
          <a:p>
            <a:pPr lvl="1">
              <a:lnSpc>
                <a:spcPct val="100000"/>
              </a:lnSpc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bg1"/>
                </a:solidFill>
              </a:rPr>
              <a:t>Yrityksillä on edelleen haasteita komponenttien, raaka-aineiden ja välituotteiden saatavuudessa. Rajusti kohonneet tuotantokustannukset rasittavat kannattavuutta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Kysyntätilanne markkinoilla kuitenkin edelleen hyvä – tarjouspyyntöjä liikkeellä runsaasti.</a:t>
            </a:r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3.11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11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645382"/>
            <a:ext cx="6060577" cy="165163"/>
          </a:xfrm>
        </p:spPr>
        <p:txBody>
          <a:bodyPr/>
          <a:lstStyle/>
          <a:p>
            <a:r>
              <a:rPr lang="fi-FI" dirty="0"/>
              <a:t>Kausipuhdistetut teollisuuden ja palveluiden liikevaihtokuvaajat</a:t>
            </a:r>
          </a:p>
          <a:p>
            <a:r>
              <a:rPr lang="fi-FI"/>
              <a:t>Osuudet liikevaihdosta 2020: kone- ja metallituoteteollisuus 40 %, elektroniikka- ja sähköteollisuus 22 %, tietotekniikka-ala 19 %, metallien jalostus 12 %, suunnittelu ja konsultointi 8 %</a:t>
            </a:r>
          </a:p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Tilastokeskus</a:t>
            </a:r>
          </a:p>
          <a:p>
            <a:endParaRPr lang="fi-FI" dirty="0"/>
          </a:p>
        </p:txBody>
      </p:sp>
      <p:graphicFrame>
        <p:nvGraphicFramePr>
          <p:cNvPr id="12" name="Sisällön paikkamerkki 11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4114714252"/>
              </p:ext>
            </p:extLst>
          </p:nvPr>
        </p:nvGraphicFramePr>
        <p:xfrm>
          <a:off x="392113" y="1106488"/>
          <a:ext cx="8369300" cy="3535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2" name="Sisällön paikkamerkki 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2113" y="1106488"/>
                        <a:ext cx="8369300" cy="35353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57490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8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3.11.202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 lokakuu 2021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5" y="2449415"/>
          <a:ext cx="7768627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55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20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4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53531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692622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.11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einä-syys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I,2021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I,2021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78</TotalTime>
  <Words>731</Words>
  <Application>Microsoft Office PowerPoint</Application>
  <PresentationFormat>Näytössä katseltava esitys (16:9)</PresentationFormat>
  <Paragraphs>210</Paragraphs>
  <Slides>14</Slides>
  <Notes>6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4</vt:i4>
      </vt:variant>
    </vt:vector>
  </HeadingPairs>
  <TitlesOfParts>
    <vt:vector size="22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119</cp:revision>
  <cp:lastPrinted>2020-08-06T06:12:28Z</cp:lastPrinted>
  <dcterms:created xsi:type="dcterms:W3CDTF">2019-10-17T09:08:24Z</dcterms:created>
  <dcterms:modified xsi:type="dcterms:W3CDTF">2021-11-03T13:3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